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7"/>
  </p:notesMasterIdLst>
  <p:sldIdLst>
    <p:sldId id="2146849566" r:id="rId2"/>
    <p:sldId id="268" r:id="rId3"/>
    <p:sldId id="2146849478" r:id="rId4"/>
    <p:sldId id="2146849481" r:id="rId5"/>
    <p:sldId id="2146849489" r:id="rId6"/>
    <p:sldId id="1600" r:id="rId7"/>
    <p:sldId id="321" r:id="rId8"/>
    <p:sldId id="383" r:id="rId9"/>
    <p:sldId id="2146849490" r:id="rId10"/>
    <p:sldId id="2146849491" r:id="rId11"/>
    <p:sldId id="2146849492" r:id="rId12"/>
    <p:sldId id="2146849570" r:id="rId13"/>
    <p:sldId id="2146849567" r:id="rId14"/>
    <p:sldId id="2146849568" r:id="rId15"/>
    <p:sldId id="291" r:id="rId16"/>
  </p:sldIdLst>
  <p:sldSz cx="12192000" cy="6858000"/>
  <p:notesSz cx="6858000" cy="9144000"/>
  <p:defaultTextStyle>
    <a:defPPr>
      <a:defRPr lang="sl-S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orient="horz" pos="1525" userDrawn="1">
          <p15:clr>
            <a:srgbClr val="A4A3A4"/>
          </p15:clr>
        </p15:guide>
        <p15:guide id="3"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87333" autoAdjust="0"/>
  </p:normalViewPr>
  <p:slideViewPr>
    <p:cSldViewPr showGuides="1">
      <p:cViewPr varScale="1">
        <p:scale>
          <a:sx n="68" d="100"/>
          <a:sy n="68" d="100"/>
        </p:scale>
        <p:origin x="1190" y="48"/>
      </p:cViewPr>
      <p:guideLst>
        <p:guide orient="horz" pos="2160"/>
        <p:guide orient="horz" pos="1525"/>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6DB6FFD-A897-4D61-9E59-52880A189AE8}" type="doc">
      <dgm:prSet loTypeId="urn:microsoft.com/office/officeart/2005/8/layout/lProcess1" loCatId="process" qsTypeId="urn:microsoft.com/office/officeart/2005/8/quickstyle/simple1" qsCatId="simple" csTypeId="urn:microsoft.com/office/officeart/2005/8/colors/accent1_2" csCatId="accent1" phldr="1"/>
      <dgm:spPr/>
      <dgm:t>
        <a:bodyPr/>
        <a:lstStyle/>
        <a:p>
          <a:endParaRPr lang="en-GB"/>
        </a:p>
      </dgm:t>
    </dgm:pt>
    <dgm:pt modelId="{2712AA59-9A6D-4FD8-A1C8-EF74944D6325}">
      <dgm:prSet phldrT="[Text]"/>
      <dgm:spPr/>
      <dgm:t>
        <a:bodyPr/>
        <a:lstStyle/>
        <a:p>
          <a:r>
            <a:rPr lang="sl-SI" noProof="0" dirty="0"/>
            <a:t>Obnovljivi viri energije</a:t>
          </a:r>
        </a:p>
      </dgm:t>
    </dgm:pt>
    <dgm:pt modelId="{B1D9D1A0-E639-42FF-BF4A-252896C7AD49}" type="parTrans" cxnId="{0C1FA04C-2413-467D-B705-97D575C6BAB7}">
      <dgm:prSet/>
      <dgm:spPr/>
      <dgm:t>
        <a:bodyPr/>
        <a:lstStyle/>
        <a:p>
          <a:endParaRPr lang="sl-SI" noProof="0" dirty="0"/>
        </a:p>
      </dgm:t>
    </dgm:pt>
    <dgm:pt modelId="{000C2DD8-2DA1-4746-B458-96EB31ED9083}" type="sibTrans" cxnId="{0C1FA04C-2413-467D-B705-97D575C6BAB7}">
      <dgm:prSet/>
      <dgm:spPr/>
      <dgm:t>
        <a:bodyPr/>
        <a:lstStyle/>
        <a:p>
          <a:endParaRPr lang="sl-SI" noProof="0" dirty="0"/>
        </a:p>
      </dgm:t>
    </dgm:pt>
    <dgm:pt modelId="{B87B0A8F-0342-4D6E-9B9C-A3171F170DC7}">
      <dgm:prSet phldrT="[Text]"/>
      <dgm:spPr/>
      <dgm:t>
        <a:bodyPr/>
        <a:lstStyle/>
        <a:p>
          <a:r>
            <a:rPr lang="sl-SI" noProof="0" dirty="0"/>
            <a:t>Proizvodnja električne energije s solarno </a:t>
          </a:r>
          <a:r>
            <a:rPr lang="sl-SI" noProof="0" dirty="0" err="1"/>
            <a:t>fotovoltaično</a:t>
          </a:r>
          <a:r>
            <a:rPr lang="sl-SI" noProof="0" dirty="0"/>
            <a:t> tehnologijo</a:t>
          </a:r>
        </a:p>
      </dgm:t>
    </dgm:pt>
    <dgm:pt modelId="{D5AD6A75-42EE-4D1C-B32F-9C99D97D04BC}" type="parTrans" cxnId="{FC1A46A9-86FC-442F-AF4D-4411BC676D27}">
      <dgm:prSet/>
      <dgm:spPr/>
      <dgm:t>
        <a:bodyPr/>
        <a:lstStyle/>
        <a:p>
          <a:endParaRPr lang="sl-SI" noProof="0" dirty="0"/>
        </a:p>
      </dgm:t>
    </dgm:pt>
    <dgm:pt modelId="{3AD64293-9F6D-4960-8715-9BDFEFCFFD74}" type="sibTrans" cxnId="{FC1A46A9-86FC-442F-AF4D-4411BC676D27}">
      <dgm:prSet/>
      <dgm:spPr/>
      <dgm:t>
        <a:bodyPr/>
        <a:lstStyle/>
        <a:p>
          <a:endParaRPr lang="sl-SI" noProof="0" dirty="0"/>
        </a:p>
      </dgm:t>
    </dgm:pt>
    <dgm:pt modelId="{2D85C482-12CB-402C-84EA-48AB5463F3E3}">
      <dgm:prSet phldrT="[Text]"/>
      <dgm:spPr/>
      <dgm:t>
        <a:bodyPr/>
        <a:lstStyle/>
        <a:p>
          <a:r>
            <a:rPr lang="sl-SI" noProof="0" dirty="0"/>
            <a:t>Proizvodnja električne energije s tehnologijo koncentrirane sončne energije</a:t>
          </a:r>
        </a:p>
      </dgm:t>
    </dgm:pt>
    <dgm:pt modelId="{2FF19F08-669B-4BE4-BDA9-55F751FAACEE}" type="parTrans" cxnId="{64DABE77-08D2-4479-92C4-6656B42AA643}">
      <dgm:prSet/>
      <dgm:spPr/>
      <dgm:t>
        <a:bodyPr/>
        <a:lstStyle/>
        <a:p>
          <a:endParaRPr lang="sl-SI" noProof="0" dirty="0"/>
        </a:p>
      </dgm:t>
    </dgm:pt>
    <dgm:pt modelId="{628592C6-8EED-4493-AC0A-4951AD6B8E90}" type="sibTrans" cxnId="{64DABE77-08D2-4479-92C4-6656B42AA643}">
      <dgm:prSet/>
      <dgm:spPr/>
      <dgm:t>
        <a:bodyPr/>
        <a:lstStyle/>
        <a:p>
          <a:endParaRPr lang="sl-SI" noProof="0" dirty="0"/>
        </a:p>
      </dgm:t>
    </dgm:pt>
    <dgm:pt modelId="{7C4EE80C-E05E-4058-96FA-848BA0A0F386}">
      <dgm:prSet/>
      <dgm:spPr/>
      <dgm:t>
        <a:bodyPr/>
        <a:lstStyle/>
        <a:p>
          <a:r>
            <a:rPr lang="sl-SI" noProof="0" dirty="0"/>
            <a:t>Zelena gradnja</a:t>
          </a:r>
        </a:p>
      </dgm:t>
    </dgm:pt>
    <dgm:pt modelId="{492143B0-1CE3-494E-B705-402720784F92}" type="parTrans" cxnId="{F3D2504A-907E-4F8C-A33F-FC07BC94D96D}">
      <dgm:prSet/>
      <dgm:spPr/>
      <dgm:t>
        <a:bodyPr/>
        <a:lstStyle/>
        <a:p>
          <a:endParaRPr lang="sl-SI" noProof="0" dirty="0"/>
        </a:p>
      </dgm:t>
    </dgm:pt>
    <dgm:pt modelId="{3126D40F-50A3-472D-A04B-D7FEA591578F}" type="sibTrans" cxnId="{F3D2504A-907E-4F8C-A33F-FC07BC94D96D}">
      <dgm:prSet/>
      <dgm:spPr/>
      <dgm:t>
        <a:bodyPr/>
        <a:lstStyle/>
        <a:p>
          <a:endParaRPr lang="sl-SI" noProof="0" dirty="0"/>
        </a:p>
      </dgm:t>
    </dgm:pt>
    <dgm:pt modelId="{BAB0EDB8-C5C1-402D-B53A-1115C2C3D6C0}">
      <dgm:prSet/>
      <dgm:spPr/>
      <dgm:t>
        <a:bodyPr/>
        <a:lstStyle/>
        <a:p>
          <a:r>
            <a:rPr lang="sl-SI" noProof="0" dirty="0"/>
            <a:t>Energetska učinkovitost</a:t>
          </a:r>
        </a:p>
      </dgm:t>
    </dgm:pt>
    <dgm:pt modelId="{0F4A606E-4A4A-4A8A-A8E6-6DBC9A131986}" type="parTrans" cxnId="{AA76D157-3ADE-4093-8B7E-1996A3459C9D}">
      <dgm:prSet/>
      <dgm:spPr/>
      <dgm:t>
        <a:bodyPr/>
        <a:lstStyle/>
        <a:p>
          <a:endParaRPr lang="sl-SI" noProof="0" dirty="0"/>
        </a:p>
      </dgm:t>
    </dgm:pt>
    <dgm:pt modelId="{7229E4C9-ACA2-4812-AD85-6ABEBE19D6AB}" type="sibTrans" cxnId="{AA76D157-3ADE-4093-8B7E-1996A3459C9D}">
      <dgm:prSet/>
      <dgm:spPr/>
      <dgm:t>
        <a:bodyPr/>
        <a:lstStyle/>
        <a:p>
          <a:endParaRPr lang="sl-SI" noProof="0" dirty="0"/>
        </a:p>
      </dgm:t>
    </dgm:pt>
    <dgm:pt modelId="{0017CBDE-20AF-4F36-A753-11816C362992}">
      <dgm:prSet/>
      <dgm:spPr/>
      <dgm:t>
        <a:bodyPr/>
        <a:lstStyle/>
        <a:p>
          <a:r>
            <a:rPr lang="sl-SI" noProof="0" dirty="0"/>
            <a:t>Proizvodnja baterij</a:t>
          </a:r>
        </a:p>
      </dgm:t>
    </dgm:pt>
    <dgm:pt modelId="{A052F15F-87BA-4299-9042-3D2FFC72355E}" type="parTrans" cxnId="{22BB84FF-265A-49A9-9A91-CBCCDCD3E4A9}">
      <dgm:prSet/>
      <dgm:spPr/>
      <dgm:t>
        <a:bodyPr/>
        <a:lstStyle/>
        <a:p>
          <a:endParaRPr lang="sl-SI" noProof="0" dirty="0"/>
        </a:p>
      </dgm:t>
    </dgm:pt>
    <dgm:pt modelId="{DA8B5CFE-9D97-4D6F-A148-D66894933FB6}" type="sibTrans" cxnId="{22BB84FF-265A-49A9-9A91-CBCCDCD3E4A9}">
      <dgm:prSet/>
      <dgm:spPr/>
      <dgm:t>
        <a:bodyPr/>
        <a:lstStyle/>
        <a:p>
          <a:endParaRPr lang="sl-SI" noProof="0" dirty="0"/>
        </a:p>
      </dgm:t>
    </dgm:pt>
    <dgm:pt modelId="{56745397-2B7B-4A46-835E-07063652C054}">
      <dgm:prSet/>
      <dgm:spPr/>
      <dgm:t>
        <a:bodyPr/>
        <a:lstStyle/>
        <a:p>
          <a:r>
            <a:rPr lang="sl-SI" noProof="0" dirty="0"/>
            <a:t>Čist prevoz</a:t>
          </a:r>
        </a:p>
      </dgm:t>
    </dgm:pt>
    <dgm:pt modelId="{AC8D5B17-CCED-4B24-93D8-20523CBBC9AE}" type="parTrans" cxnId="{A9B6C122-B8ED-4ABF-A95F-2343CE632340}">
      <dgm:prSet/>
      <dgm:spPr/>
      <dgm:t>
        <a:bodyPr/>
        <a:lstStyle/>
        <a:p>
          <a:endParaRPr lang="sl-SI" noProof="0" dirty="0"/>
        </a:p>
      </dgm:t>
    </dgm:pt>
    <dgm:pt modelId="{090228C4-33C2-43EF-B5D9-DBCAD18AE7A9}" type="sibTrans" cxnId="{A9B6C122-B8ED-4ABF-A95F-2343CE632340}">
      <dgm:prSet/>
      <dgm:spPr/>
      <dgm:t>
        <a:bodyPr/>
        <a:lstStyle/>
        <a:p>
          <a:endParaRPr lang="sl-SI" noProof="0" dirty="0"/>
        </a:p>
      </dgm:t>
    </dgm:pt>
    <dgm:pt modelId="{B76B0908-8C40-42FE-BE88-C231B6055710}">
      <dgm:prSet/>
      <dgm:spPr/>
      <dgm:t>
        <a:bodyPr/>
        <a:lstStyle/>
        <a:p>
          <a:r>
            <a:rPr lang="sl-SI" noProof="0" dirty="0"/>
            <a:t>Trajnostno gospodarjenje z vodami in odpadnimi vodami</a:t>
          </a:r>
        </a:p>
      </dgm:t>
    </dgm:pt>
    <dgm:pt modelId="{802AD948-520C-4B9E-8F2D-23857013E936}" type="parTrans" cxnId="{C2963E41-FE48-4D09-9FE6-0B6854471FE7}">
      <dgm:prSet/>
      <dgm:spPr/>
      <dgm:t>
        <a:bodyPr/>
        <a:lstStyle/>
        <a:p>
          <a:endParaRPr lang="sl-SI" noProof="0" dirty="0"/>
        </a:p>
      </dgm:t>
    </dgm:pt>
    <dgm:pt modelId="{2F0B7D8A-D70B-43B8-90B0-D858349618D4}" type="sibTrans" cxnId="{C2963E41-FE48-4D09-9FE6-0B6854471FE7}">
      <dgm:prSet/>
      <dgm:spPr/>
      <dgm:t>
        <a:bodyPr/>
        <a:lstStyle/>
        <a:p>
          <a:endParaRPr lang="sl-SI" noProof="0" dirty="0"/>
        </a:p>
      </dgm:t>
    </dgm:pt>
    <dgm:pt modelId="{AFF86547-6F09-4587-922D-9C4B78A79E22}">
      <dgm:prSet/>
      <dgm:spPr/>
      <dgm:t>
        <a:bodyPr/>
        <a:lstStyle/>
        <a:p>
          <a:r>
            <a:rPr lang="sl-SI" noProof="0" dirty="0"/>
            <a:t>Preprečevanje in nadzorovanje onesnaževanja</a:t>
          </a:r>
        </a:p>
      </dgm:t>
    </dgm:pt>
    <dgm:pt modelId="{51E22D4F-B44A-49D2-9B7E-66CF0AF9ACB4}" type="parTrans" cxnId="{C7AB8E9D-7F74-48A2-AD7F-3AE6F4904AC9}">
      <dgm:prSet/>
      <dgm:spPr/>
      <dgm:t>
        <a:bodyPr/>
        <a:lstStyle/>
        <a:p>
          <a:endParaRPr lang="sl-SI" noProof="0" dirty="0"/>
        </a:p>
      </dgm:t>
    </dgm:pt>
    <dgm:pt modelId="{99B748BB-88C2-4CF5-9920-7C2A56601693}" type="sibTrans" cxnId="{C7AB8E9D-7F74-48A2-AD7F-3AE6F4904AC9}">
      <dgm:prSet/>
      <dgm:spPr/>
      <dgm:t>
        <a:bodyPr/>
        <a:lstStyle/>
        <a:p>
          <a:endParaRPr lang="sl-SI" noProof="0" dirty="0"/>
        </a:p>
      </dgm:t>
    </dgm:pt>
    <dgm:pt modelId="{551B9AB9-EFA3-4A87-A58A-DED4C1433AF1}">
      <dgm:prSet phldrT="[Text]"/>
      <dgm:spPr/>
      <dgm:t>
        <a:bodyPr/>
        <a:lstStyle/>
        <a:p>
          <a:r>
            <a:rPr lang="sl-SI" noProof="0" dirty="0"/>
            <a:t>Proizvodnja električne energije iz vetrne energije</a:t>
          </a:r>
        </a:p>
      </dgm:t>
    </dgm:pt>
    <dgm:pt modelId="{6D6B9218-02E7-4252-B9D2-412270F38851}" type="parTrans" cxnId="{B2446B55-B071-4806-9328-2B5E716C8921}">
      <dgm:prSet/>
      <dgm:spPr/>
      <dgm:t>
        <a:bodyPr/>
        <a:lstStyle/>
        <a:p>
          <a:endParaRPr lang="sl-SI" noProof="0" dirty="0"/>
        </a:p>
      </dgm:t>
    </dgm:pt>
    <dgm:pt modelId="{E334D1F3-3BAB-4597-93AC-E330F2BC4AE3}" type="sibTrans" cxnId="{B2446B55-B071-4806-9328-2B5E716C8921}">
      <dgm:prSet/>
      <dgm:spPr/>
      <dgm:t>
        <a:bodyPr/>
        <a:lstStyle/>
        <a:p>
          <a:endParaRPr lang="sl-SI" noProof="0" dirty="0"/>
        </a:p>
      </dgm:t>
    </dgm:pt>
    <dgm:pt modelId="{09931536-4805-4AB9-8D26-2C77C5723E77}">
      <dgm:prSet phldrT="[Text]"/>
      <dgm:spPr/>
      <dgm:t>
        <a:bodyPr/>
        <a:lstStyle/>
        <a:p>
          <a:r>
            <a:rPr lang="sl-SI" noProof="0" dirty="0"/>
            <a:t>Proizvodnja električne energije iz vodne energije</a:t>
          </a:r>
        </a:p>
      </dgm:t>
    </dgm:pt>
    <dgm:pt modelId="{3E00D29F-4693-422C-B3BC-65E743BECD6F}" type="parTrans" cxnId="{2D261CAB-3F27-4E6E-B874-52F520909672}">
      <dgm:prSet/>
      <dgm:spPr/>
      <dgm:t>
        <a:bodyPr/>
        <a:lstStyle/>
        <a:p>
          <a:endParaRPr lang="sl-SI" noProof="0" dirty="0"/>
        </a:p>
      </dgm:t>
    </dgm:pt>
    <dgm:pt modelId="{8E3704D4-7A1E-4196-9277-D2895DB4D3D0}" type="sibTrans" cxnId="{2D261CAB-3F27-4E6E-B874-52F520909672}">
      <dgm:prSet/>
      <dgm:spPr/>
      <dgm:t>
        <a:bodyPr/>
        <a:lstStyle/>
        <a:p>
          <a:endParaRPr lang="sl-SI" noProof="0" dirty="0"/>
        </a:p>
      </dgm:t>
    </dgm:pt>
    <dgm:pt modelId="{6AF33201-D0AE-4CD8-A4C3-FB4F3D21916B}">
      <dgm:prSet phldrT="[Text]"/>
      <dgm:spPr/>
      <dgm:t>
        <a:bodyPr/>
        <a:lstStyle/>
        <a:p>
          <a:r>
            <a:rPr lang="sl-SI" noProof="0" dirty="0"/>
            <a:t>Proizvodnja električne energije iz geotermalne energije</a:t>
          </a:r>
        </a:p>
      </dgm:t>
    </dgm:pt>
    <dgm:pt modelId="{A372BB1A-5223-409F-9B48-2096753179A2}" type="parTrans" cxnId="{D861B39C-5BD6-49CE-A992-A8163A627356}">
      <dgm:prSet/>
      <dgm:spPr/>
      <dgm:t>
        <a:bodyPr/>
        <a:lstStyle/>
        <a:p>
          <a:endParaRPr lang="sl-SI" noProof="0" dirty="0"/>
        </a:p>
      </dgm:t>
    </dgm:pt>
    <dgm:pt modelId="{B2C843C7-1EEA-42CC-820E-EEE0F34A3EC0}" type="sibTrans" cxnId="{D861B39C-5BD6-49CE-A992-A8163A627356}">
      <dgm:prSet/>
      <dgm:spPr/>
      <dgm:t>
        <a:bodyPr/>
        <a:lstStyle/>
        <a:p>
          <a:endParaRPr lang="sl-SI" noProof="0" dirty="0"/>
        </a:p>
      </dgm:t>
    </dgm:pt>
    <dgm:pt modelId="{1F84CF25-C3D1-4195-AF5D-AFCF8BEE5B8A}">
      <dgm:prSet phldrT="[Text]"/>
      <dgm:spPr/>
      <dgm:t>
        <a:bodyPr/>
        <a:lstStyle/>
        <a:p>
          <a:r>
            <a:rPr lang="sl-SI" noProof="0" dirty="0"/>
            <a:t>Proizvodnja električne energije iz bioenergije</a:t>
          </a:r>
        </a:p>
      </dgm:t>
    </dgm:pt>
    <dgm:pt modelId="{54715532-771C-4C6C-BE16-34DDE81AD33B}" type="parTrans" cxnId="{246EA106-2C3D-42B9-AEB2-772C72647FA0}">
      <dgm:prSet/>
      <dgm:spPr/>
      <dgm:t>
        <a:bodyPr/>
        <a:lstStyle/>
        <a:p>
          <a:endParaRPr lang="sl-SI" noProof="0" dirty="0"/>
        </a:p>
      </dgm:t>
    </dgm:pt>
    <dgm:pt modelId="{126B996F-4742-4C93-8A3D-6CB6EA9A1174}" type="sibTrans" cxnId="{246EA106-2C3D-42B9-AEB2-772C72647FA0}">
      <dgm:prSet/>
      <dgm:spPr/>
      <dgm:t>
        <a:bodyPr/>
        <a:lstStyle/>
        <a:p>
          <a:endParaRPr lang="sl-SI" noProof="0" dirty="0"/>
        </a:p>
      </dgm:t>
    </dgm:pt>
    <dgm:pt modelId="{1C8EBC63-85EE-41A6-8246-01CE91C598B6}">
      <dgm:prSet phldrT="[Text]"/>
      <dgm:spPr/>
      <dgm:t>
        <a:bodyPr/>
        <a:lstStyle/>
        <a:p>
          <a:r>
            <a:rPr lang="sl-SI" noProof="0" dirty="0"/>
            <a:t>Prenos in distribucija električne energije</a:t>
          </a:r>
        </a:p>
      </dgm:t>
    </dgm:pt>
    <dgm:pt modelId="{F263F3D0-ACAD-4885-ACEE-5D54F902CB51}" type="parTrans" cxnId="{55080A74-F847-43F6-A0BB-77ACF977D2D2}">
      <dgm:prSet/>
      <dgm:spPr/>
      <dgm:t>
        <a:bodyPr/>
        <a:lstStyle/>
        <a:p>
          <a:endParaRPr lang="sl-SI" noProof="0" dirty="0"/>
        </a:p>
      </dgm:t>
    </dgm:pt>
    <dgm:pt modelId="{D0973FCC-AC3A-41C1-BD46-3F23111AB4E2}" type="sibTrans" cxnId="{55080A74-F847-43F6-A0BB-77ACF977D2D2}">
      <dgm:prSet/>
      <dgm:spPr/>
      <dgm:t>
        <a:bodyPr/>
        <a:lstStyle/>
        <a:p>
          <a:endParaRPr lang="sl-SI" noProof="0" dirty="0"/>
        </a:p>
      </dgm:t>
    </dgm:pt>
    <dgm:pt modelId="{A64784A1-F66A-4E8B-B36F-DAF962D831B5}">
      <dgm:prSet phldrT="[Text]"/>
      <dgm:spPr/>
      <dgm:t>
        <a:bodyPr/>
        <a:lstStyle/>
        <a:p>
          <a:r>
            <a:rPr lang="sl-SI" noProof="0" dirty="0"/>
            <a:t>Soproizvodnja toplote/hladu in električne energije iz sončne energije</a:t>
          </a:r>
        </a:p>
      </dgm:t>
    </dgm:pt>
    <dgm:pt modelId="{77FB8E6B-479F-4C53-AA39-8579966D725F}" type="parTrans" cxnId="{B0EC8454-EB67-4C65-B4C6-801856A4E478}">
      <dgm:prSet/>
      <dgm:spPr/>
      <dgm:t>
        <a:bodyPr/>
        <a:lstStyle/>
        <a:p>
          <a:endParaRPr lang="sl-SI" noProof="0" dirty="0"/>
        </a:p>
      </dgm:t>
    </dgm:pt>
    <dgm:pt modelId="{7F59DAA7-B3B4-4F1C-A74B-8595F793D9B5}" type="sibTrans" cxnId="{B0EC8454-EB67-4C65-B4C6-801856A4E478}">
      <dgm:prSet/>
      <dgm:spPr/>
      <dgm:t>
        <a:bodyPr/>
        <a:lstStyle/>
        <a:p>
          <a:endParaRPr lang="sl-SI" noProof="0" dirty="0"/>
        </a:p>
      </dgm:t>
    </dgm:pt>
    <dgm:pt modelId="{2721EC70-B247-4904-8C17-B883A4424DDD}">
      <dgm:prSet phldrT="[Text]"/>
      <dgm:spPr/>
      <dgm:t>
        <a:bodyPr/>
        <a:lstStyle/>
        <a:p>
          <a:r>
            <a:rPr lang="sl-SI" noProof="0" dirty="0"/>
            <a:t>Namestitev, vzdrževanje in popravilo tehnologij obnovljive energije</a:t>
          </a:r>
        </a:p>
      </dgm:t>
    </dgm:pt>
    <dgm:pt modelId="{42B8B984-31E3-42CF-9559-B8981E156DDB}" type="parTrans" cxnId="{09B99CBF-6E01-4EFC-B9CF-512F4E53F138}">
      <dgm:prSet/>
      <dgm:spPr/>
      <dgm:t>
        <a:bodyPr/>
        <a:lstStyle/>
        <a:p>
          <a:endParaRPr lang="sl-SI" noProof="0" dirty="0"/>
        </a:p>
      </dgm:t>
    </dgm:pt>
    <dgm:pt modelId="{04E5AB14-E2D3-47A0-AF1D-D1083B0B375B}" type="sibTrans" cxnId="{09B99CBF-6E01-4EFC-B9CF-512F4E53F138}">
      <dgm:prSet/>
      <dgm:spPr/>
      <dgm:t>
        <a:bodyPr/>
        <a:lstStyle/>
        <a:p>
          <a:endParaRPr lang="sl-SI" noProof="0" dirty="0"/>
        </a:p>
      </dgm:t>
    </dgm:pt>
    <dgm:pt modelId="{CB241D9D-C689-4371-A0DF-FF45CA900D17}">
      <dgm:prSet/>
      <dgm:spPr/>
      <dgm:t>
        <a:bodyPr/>
        <a:lstStyle/>
        <a:p>
          <a:r>
            <a:rPr lang="sl-SI" noProof="0" dirty="0"/>
            <a:t>Gradnja novih stavb</a:t>
          </a:r>
        </a:p>
      </dgm:t>
    </dgm:pt>
    <dgm:pt modelId="{193420F2-0FC8-4E42-B088-30F0F1506B0D}" type="parTrans" cxnId="{B10972B0-6F03-4AE3-804B-89BCDE472304}">
      <dgm:prSet/>
      <dgm:spPr/>
      <dgm:t>
        <a:bodyPr/>
        <a:lstStyle/>
        <a:p>
          <a:endParaRPr lang="sl-SI" noProof="0" dirty="0"/>
        </a:p>
      </dgm:t>
    </dgm:pt>
    <dgm:pt modelId="{ECFE39A7-902C-4673-A036-6220B3CCC08A}" type="sibTrans" cxnId="{B10972B0-6F03-4AE3-804B-89BCDE472304}">
      <dgm:prSet/>
      <dgm:spPr/>
      <dgm:t>
        <a:bodyPr/>
        <a:lstStyle/>
        <a:p>
          <a:endParaRPr lang="sl-SI" noProof="0" dirty="0"/>
        </a:p>
      </dgm:t>
    </dgm:pt>
    <dgm:pt modelId="{7034C13D-3803-4DA9-9A42-A2AC7816434D}">
      <dgm:prSet/>
      <dgm:spPr/>
      <dgm:t>
        <a:bodyPr/>
        <a:lstStyle/>
        <a:p>
          <a:r>
            <a:rPr lang="sl-SI" noProof="0" dirty="0"/>
            <a:t>Obnova obstoječih stavb</a:t>
          </a:r>
        </a:p>
      </dgm:t>
    </dgm:pt>
    <dgm:pt modelId="{A63E6235-4A7A-4DD3-8FA8-46AB3E38CFE0}" type="parTrans" cxnId="{8AFB0B91-BAB3-4B91-9994-B391AA0E7C8D}">
      <dgm:prSet/>
      <dgm:spPr/>
      <dgm:t>
        <a:bodyPr/>
        <a:lstStyle/>
        <a:p>
          <a:endParaRPr lang="sl-SI" noProof="0" dirty="0"/>
        </a:p>
      </dgm:t>
    </dgm:pt>
    <dgm:pt modelId="{B84ADD0B-0FC4-476E-BC62-5E629FCA113D}" type="sibTrans" cxnId="{8AFB0B91-BAB3-4B91-9994-B391AA0E7C8D}">
      <dgm:prSet/>
      <dgm:spPr/>
      <dgm:t>
        <a:bodyPr/>
        <a:lstStyle/>
        <a:p>
          <a:endParaRPr lang="sl-SI" noProof="0" dirty="0"/>
        </a:p>
      </dgm:t>
    </dgm:pt>
    <dgm:pt modelId="{92C703CF-8FEC-44A8-8D6B-9EF54EE2CB96}">
      <dgm:prSet/>
      <dgm:spPr/>
      <dgm:t>
        <a:bodyPr/>
        <a:lstStyle/>
        <a:p>
          <a:r>
            <a:rPr lang="sl-SI" noProof="0" dirty="0"/>
            <a:t>Pridobitev in lastništvo stavb</a:t>
          </a:r>
        </a:p>
      </dgm:t>
    </dgm:pt>
    <dgm:pt modelId="{30958250-7CC2-4953-8E54-83F31520CB00}" type="parTrans" cxnId="{4796912A-4A4C-4D8E-8B37-DC067B7CB22C}">
      <dgm:prSet/>
      <dgm:spPr/>
      <dgm:t>
        <a:bodyPr/>
        <a:lstStyle/>
        <a:p>
          <a:endParaRPr lang="sl-SI" noProof="0" dirty="0"/>
        </a:p>
      </dgm:t>
    </dgm:pt>
    <dgm:pt modelId="{BB0C9C2F-F49C-485C-A1DC-0DF005408286}" type="sibTrans" cxnId="{4796912A-4A4C-4D8E-8B37-DC067B7CB22C}">
      <dgm:prSet/>
      <dgm:spPr/>
      <dgm:t>
        <a:bodyPr/>
        <a:lstStyle/>
        <a:p>
          <a:endParaRPr lang="sl-SI" noProof="0" dirty="0"/>
        </a:p>
      </dgm:t>
    </dgm:pt>
    <dgm:pt modelId="{E2FCCCD3-F509-4FD3-89EB-686E25448182}">
      <dgm:prSet/>
      <dgm:spPr/>
      <dgm:t>
        <a:bodyPr/>
        <a:lstStyle/>
        <a:p>
          <a:r>
            <a:rPr lang="sl-SI" noProof="0" dirty="0"/>
            <a:t>Shranjevanje električne energije</a:t>
          </a:r>
        </a:p>
      </dgm:t>
    </dgm:pt>
    <dgm:pt modelId="{BAFC6D81-ECFB-4308-AAE5-43A51D081F96}" type="parTrans" cxnId="{C67D59DA-6B68-4EBE-B9C0-A88B4C27A30C}">
      <dgm:prSet/>
      <dgm:spPr/>
      <dgm:t>
        <a:bodyPr/>
        <a:lstStyle/>
        <a:p>
          <a:endParaRPr lang="sl-SI" noProof="0" dirty="0"/>
        </a:p>
      </dgm:t>
    </dgm:pt>
    <dgm:pt modelId="{6E3A28C0-41A1-43CC-AFCB-EFAC15B82F3F}" type="sibTrans" cxnId="{C67D59DA-6B68-4EBE-B9C0-A88B4C27A30C}">
      <dgm:prSet/>
      <dgm:spPr/>
      <dgm:t>
        <a:bodyPr/>
        <a:lstStyle/>
        <a:p>
          <a:endParaRPr lang="sl-SI" noProof="0" dirty="0"/>
        </a:p>
      </dgm:t>
    </dgm:pt>
    <dgm:pt modelId="{17724A3B-4244-48EC-BE61-104A203866E6}">
      <dgm:prSet/>
      <dgm:spPr/>
      <dgm:t>
        <a:bodyPr/>
        <a:lstStyle/>
        <a:p>
          <a:r>
            <a:rPr lang="sl-SI" noProof="0" dirty="0"/>
            <a:t>Montaža in obratovanje električnih toplotnih črpalk</a:t>
          </a:r>
        </a:p>
      </dgm:t>
    </dgm:pt>
    <dgm:pt modelId="{2CE0A8BF-39B5-467E-8E05-D02C7E13C303}" type="parTrans" cxnId="{C5C2D18A-4D14-4D76-B036-B34498603A65}">
      <dgm:prSet/>
      <dgm:spPr/>
      <dgm:t>
        <a:bodyPr/>
        <a:lstStyle/>
        <a:p>
          <a:endParaRPr lang="sl-SI" noProof="0" dirty="0"/>
        </a:p>
      </dgm:t>
    </dgm:pt>
    <dgm:pt modelId="{D6E89F82-3918-407B-9212-4C81231094B9}" type="sibTrans" cxnId="{C5C2D18A-4D14-4D76-B036-B34498603A65}">
      <dgm:prSet/>
      <dgm:spPr/>
      <dgm:t>
        <a:bodyPr/>
        <a:lstStyle/>
        <a:p>
          <a:endParaRPr lang="sl-SI" noProof="0" dirty="0"/>
        </a:p>
      </dgm:t>
    </dgm:pt>
    <dgm:pt modelId="{63AA9A8F-FA05-4454-8A82-CB42992233FD}">
      <dgm:prSet/>
      <dgm:spPr/>
      <dgm:t>
        <a:bodyPr/>
        <a:lstStyle/>
        <a:p>
          <a:r>
            <a:rPr lang="sl-SI" noProof="0" dirty="0"/>
            <a:t>Namestitev, vzdrževanje in popravilo opreme za energetsko učinkovitost</a:t>
          </a:r>
        </a:p>
      </dgm:t>
    </dgm:pt>
    <dgm:pt modelId="{04C18E67-CAC8-4E82-9E69-66CEE7E8D870}" type="parTrans" cxnId="{29A158A8-BBF3-4E47-A283-48E08CD9EA36}">
      <dgm:prSet/>
      <dgm:spPr/>
      <dgm:t>
        <a:bodyPr/>
        <a:lstStyle/>
        <a:p>
          <a:endParaRPr lang="sl-SI" noProof="0" dirty="0"/>
        </a:p>
      </dgm:t>
    </dgm:pt>
    <dgm:pt modelId="{E3C30874-4757-4813-882A-8521C3E969F9}" type="sibTrans" cxnId="{29A158A8-BBF3-4E47-A283-48E08CD9EA36}">
      <dgm:prSet/>
      <dgm:spPr/>
      <dgm:t>
        <a:bodyPr/>
        <a:lstStyle/>
        <a:p>
          <a:endParaRPr lang="sl-SI" noProof="0" dirty="0"/>
        </a:p>
      </dgm:t>
    </dgm:pt>
    <dgm:pt modelId="{2705E795-C59C-4B26-998A-629EB7DC4C1D}">
      <dgm:prSet/>
      <dgm:spPr/>
      <dgm:t>
        <a:bodyPr/>
        <a:lstStyle/>
        <a:p>
          <a:r>
            <a:rPr lang="sl-SI" noProof="0" dirty="0"/>
            <a:t>Potniški medkrajevni železniški promet</a:t>
          </a:r>
        </a:p>
      </dgm:t>
    </dgm:pt>
    <dgm:pt modelId="{2D3A19F0-6E9B-4D22-AD54-CF03EB7B0B1F}" type="parTrans" cxnId="{4A0E52DD-2A51-480D-A535-69B8667C284F}">
      <dgm:prSet/>
      <dgm:spPr/>
      <dgm:t>
        <a:bodyPr/>
        <a:lstStyle/>
        <a:p>
          <a:endParaRPr lang="sl-SI" noProof="0" dirty="0"/>
        </a:p>
      </dgm:t>
    </dgm:pt>
    <dgm:pt modelId="{464FDECD-76B5-4280-B16B-848CE8091C0C}" type="sibTrans" cxnId="{4A0E52DD-2A51-480D-A535-69B8667C284F}">
      <dgm:prSet/>
      <dgm:spPr/>
      <dgm:t>
        <a:bodyPr/>
        <a:lstStyle/>
        <a:p>
          <a:endParaRPr lang="sl-SI" noProof="0" dirty="0"/>
        </a:p>
      </dgm:t>
    </dgm:pt>
    <dgm:pt modelId="{441F6ACB-E9A2-4501-BEA3-6BA32A444C9E}">
      <dgm:prSet/>
      <dgm:spPr/>
      <dgm:t>
        <a:bodyPr/>
        <a:lstStyle/>
        <a:p>
          <a:r>
            <a:rPr lang="sl-SI" noProof="0" dirty="0"/>
            <a:t>Železniški tovorni promet</a:t>
          </a:r>
        </a:p>
      </dgm:t>
    </dgm:pt>
    <dgm:pt modelId="{447DF6EE-0AB3-4016-8A21-DBF369B51E5A}" type="parTrans" cxnId="{D8AF3E8E-6327-4A6A-95E5-39107A2AE631}">
      <dgm:prSet/>
      <dgm:spPr/>
      <dgm:t>
        <a:bodyPr/>
        <a:lstStyle/>
        <a:p>
          <a:endParaRPr lang="sl-SI" noProof="0" dirty="0"/>
        </a:p>
      </dgm:t>
    </dgm:pt>
    <dgm:pt modelId="{F8B46229-782E-4478-987C-178129FBB438}" type="sibTrans" cxnId="{D8AF3E8E-6327-4A6A-95E5-39107A2AE631}">
      <dgm:prSet/>
      <dgm:spPr/>
      <dgm:t>
        <a:bodyPr/>
        <a:lstStyle/>
        <a:p>
          <a:endParaRPr lang="sl-SI" noProof="0" dirty="0"/>
        </a:p>
      </dgm:t>
    </dgm:pt>
    <dgm:pt modelId="{D67F9D61-5203-4F1F-91AC-24E30F10B1DF}">
      <dgm:prSet/>
      <dgm:spPr/>
      <dgm:t>
        <a:bodyPr/>
        <a:lstStyle/>
        <a:p>
          <a:r>
            <a:rPr lang="sl-SI" noProof="0" dirty="0"/>
            <a:t>Mestni in primestni promet, cestni potniški promet</a:t>
          </a:r>
        </a:p>
      </dgm:t>
    </dgm:pt>
    <dgm:pt modelId="{47D46FD7-4613-4603-B009-5B3766112AB6}" type="parTrans" cxnId="{1B1B471F-FCB9-4BD3-9FFC-1F4D100DE4CA}">
      <dgm:prSet/>
      <dgm:spPr/>
      <dgm:t>
        <a:bodyPr/>
        <a:lstStyle/>
        <a:p>
          <a:endParaRPr lang="sl-SI" noProof="0" dirty="0"/>
        </a:p>
      </dgm:t>
    </dgm:pt>
    <dgm:pt modelId="{D8095C02-0170-46EA-A927-69AEADDF33C3}" type="sibTrans" cxnId="{1B1B471F-FCB9-4BD3-9FFC-1F4D100DE4CA}">
      <dgm:prSet/>
      <dgm:spPr/>
      <dgm:t>
        <a:bodyPr/>
        <a:lstStyle/>
        <a:p>
          <a:endParaRPr lang="sl-SI" noProof="0" dirty="0"/>
        </a:p>
      </dgm:t>
    </dgm:pt>
    <dgm:pt modelId="{CC39592A-53BD-41E2-9F76-6688DCB0EF7D}">
      <dgm:prSet/>
      <dgm:spPr/>
      <dgm:t>
        <a:bodyPr/>
        <a:lstStyle/>
        <a:p>
          <a:r>
            <a:rPr lang="sl-SI" noProof="0" dirty="0"/>
            <a:t>Prevoz z motornimi kolesi, osebnimi avtomobili in lahkimi gospodarskimi vozili</a:t>
          </a:r>
        </a:p>
      </dgm:t>
    </dgm:pt>
    <dgm:pt modelId="{DC69E997-5247-4706-923F-E41625F8886C}" type="parTrans" cxnId="{4BEA4F15-C0DF-4B15-93B7-0ADF3C97F2FF}">
      <dgm:prSet/>
      <dgm:spPr/>
      <dgm:t>
        <a:bodyPr/>
        <a:lstStyle/>
        <a:p>
          <a:endParaRPr lang="sl-SI" noProof="0" dirty="0"/>
        </a:p>
      </dgm:t>
    </dgm:pt>
    <dgm:pt modelId="{04DD2987-12C4-4C2C-9311-BA7C2197049D}" type="sibTrans" cxnId="{4BEA4F15-C0DF-4B15-93B7-0ADF3C97F2FF}">
      <dgm:prSet/>
      <dgm:spPr/>
      <dgm:t>
        <a:bodyPr/>
        <a:lstStyle/>
        <a:p>
          <a:endParaRPr lang="sl-SI" noProof="0" dirty="0"/>
        </a:p>
      </dgm:t>
    </dgm:pt>
    <dgm:pt modelId="{52847518-E29F-478C-A1A9-4E6EF19D4578}">
      <dgm:prSet/>
      <dgm:spPr/>
      <dgm:t>
        <a:bodyPr/>
        <a:lstStyle/>
        <a:p>
          <a:r>
            <a:rPr lang="sl-SI" noProof="0" dirty="0"/>
            <a:t>Infrastruktura za osebno mobilnost, kolesarsko logistiko</a:t>
          </a:r>
        </a:p>
      </dgm:t>
    </dgm:pt>
    <dgm:pt modelId="{99E26DBD-27E7-4FD3-92D0-A18751E6CBB2}" type="parTrans" cxnId="{9DC4ADB1-8401-4058-9BB1-BAF78EB19E5E}">
      <dgm:prSet/>
      <dgm:spPr/>
      <dgm:t>
        <a:bodyPr/>
        <a:lstStyle/>
        <a:p>
          <a:endParaRPr lang="sl-SI" noProof="0" dirty="0"/>
        </a:p>
      </dgm:t>
    </dgm:pt>
    <dgm:pt modelId="{8CEB7212-4022-47EE-82A4-B600A23BB9E7}" type="sibTrans" cxnId="{9DC4ADB1-8401-4058-9BB1-BAF78EB19E5E}">
      <dgm:prSet/>
      <dgm:spPr/>
      <dgm:t>
        <a:bodyPr/>
        <a:lstStyle/>
        <a:p>
          <a:endParaRPr lang="sl-SI" noProof="0" dirty="0"/>
        </a:p>
      </dgm:t>
    </dgm:pt>
    <dgm:pt modelId="{67F4DA7A-5E13-4DA1-83D7-611B15FBCBE5}">
      <dgm:prSet/>
      <dgm:spPr/>
      <dgm:t>
        <a:bodyPr/>
        <a:lstStyle/>
        <a:p>
          <a:r>
            <a:rPr lang="sl-SI" noProof="0" dirty="0"/>
            <a:t>Infrastruktura za železniški promet</a:t>
          </a:r>
        </a:p>
      </dgm:t>
    </dgm:pt>
    <dgm:pt modelId="{1DE835EC-DFB8-4474-9AE3-9D8211BD0F4F}" type="parTrans" cxnId="{A57F79FE-EB51-4284-8176-4FF4B545C9BA}">
      <dgm:prSet/>
      <dgm:spPr/>
      <dgm:t>
        <a:bodyPr/>
        <a:lstStyle/>
        <a:p>
          <a:endParaRPr lang="sl-SI" noProof="0" dirty="0"/>
        </a:p>
      </dgm:t>
    </dgm:pt>
    <dgm:pt modelId="{CF07D2C7-BC60-42A1-A215-505C76674ADB}" type="sibTrans" cxnId="{A57F79FE-EB51-4284-8176-4FF4B545C9BA}">
      <dgm:prSet/>
      <dgm:spPr/>
      <dgm:t>
        <a:bodyPr/>
        <a:lstStyle/>
        <a:p>
          <a:endParaRPr lang="sl-SI" noProof="0" dirty="0"/>
        </a:p>
      </dgm:t>
    </dgm:pt>
    <dgm:pt modelId="{E64193C5-FEDF-4F81-95CA-74209AD18927}">
      <dgm:prSet/>
      <dgm:spPr/>
      <dgm:t>
        <a:bodyPr/>
        <a:lstStyle/>
        <a:p>
          <a:r>
            <a:rPr lang="sl-SI" noProof="0" dirty="0"/>
            <a:t>Infrastruktura, ki omogoča </a:t>
          </a:r>
          <a:r>
            <a:rPr lang="sl-SI" noProof="0" dirty="0" err="1"/>
            <a:t>nizkoogljični</a:t>
          </a:r>
          <a:r>
            <a:rPr lang="sl-SI" noProof="0" dirty="0"/>
            <a:t> cestni promet in javni prevoz</a:t>
          </a:r>
        </a:p>
      </dgm:t>
    </dgm:pt>
    <dgm:pt modelId="{752A91FB-1013-4B70-AB48-F7EDDC171BEC}" type="parTrans" cxnId="{C592FDBB-E2A6-4EB1-9E82-CFC5693894C8}">
      <dgm:prSet/>
      <dgm:spPr/>
      <dgm:t>
        <a:bodyPr/>
        <a:lstStyle/>
        <a:p>
          <a:endParaRPr lang="sl-SI" noProof="0" dirty="0"/>
        </a:p>
      </dgm:t>
    </dgm:pt>
    <dgm:pt modelId="{81670131-BBAE-4E30-A93C-322558787C62}" type="sibTrans" cxnId="{C592FDBB-E2A6-4EB1-9E82-CFC5693894C8}">
      <dgm:prSet/>
      <dgm:spPr/>
      <dgm:t>
        <a:bodyPr/>
        <a:lstStyle/>
        <a:p>
          <a:endParaRPr lang="sl-SI" noProof="0" dirty="0"/>
        </a:p>
      </dgm:t>
    </dgm:pt>
    <dgm:pt modelId="{D458A37A-4929-47FE-A801-289AFDD5A64A}">
      <dgm:prSet/>
      <dgm:spPr/>
      <dgm:t>
        <a:bodyPr/>
        <a:lstStyle/>
        <a:p>
          <a:r>
            <a:rPr lang="sl-SI" noProof="0" dirty="0"/>
            <a:t>Gradnja, razširitev in obratovanje sistemov za zbiranje, prečiščevanje in oskrbo z vodo</a:t>
          </a:r>
        </a:p>
      </dgm:t>
    </dgm:pt>
    <dgm:pt modelId="{5F17AF55-8DE8-4F3A-964A-CD7FBA46CD8A}" type="parTrans" cxnId="{666DAE16-9BDF-40A3-9F90-AACE80BFE74C}">
      <dgm:prSet/>
      <dgm:spPr/>
      <dgm:t>
        <a:bodyPr/>
        <a:lstStyle/>
        <a:p>
          <a:endParaRPr lang="sl-SI" noProof="0" dirty="0"/>
        </a:p>
      </dgm:t>
    </dgm:pt>
    <dgm:pt modelId="{5B383A0B-AAF9-471A-B093-6ED26387E9BF}" type="sibTrans" cxnId="{666DAE16-9BDF-40A3-9F90-AACE80BFE74C}">
      <dgm:prSet/>
      <dgm:spPr/>
      <dgm:t>
        <a:bodyPr/>
        <a:lstStyle/>
        <a:p>
          <a:endParaRPr lang="sl-SI" noProof="0" dirty="0"/>
        </a:p>
      </dgm:t>
    </dgm:pt>
    <dgm:pt modelId="{EF81A1CA-30A7-4CE1-B4FD-343CBE74C293}">
      <dgm:prSet/>
      <dgm:spPr/>
      <dgm:t>
        <a:bodyPr/>
        <a:lstStyle/>
        <a:p>
          <a:r>
            <a:rPr lang="sl-SI" noProof="0" dirty="0"/>
            <a:t>Obnova sistemov zbiranja, čiščenja in oskrbe z vodo</a:t>
          </a:r>
        </a:p>
      </dgm:t>
    </dgm:pt>
    <dgm:pt modelId="{19F45E29-39EA-4029-8BB1-2D7F2F8F276C}" type="parTrans" cxnId="{225CC2FC-1FF8-4BAE-8213-2BEA6DE65985}">
      <dgm:prSet/>
      <dgm:spPr/>
      <dgm:t>
        <a:bodyPr/>
        <a:lstStyle/>
        <a:p>
          <a:endParaRPr lang="sl-SI" noProof="0" dirty="0"/>
        </a:p>
      </dgm:t>
    </dgm:pt>
    <dgm:pt modelId="{9B51E8A4-FF42-4147-A607-446330C00D7A}" type="sibTrans" cxnId="{225CC2FC-1FF8-4BAE-8213-2BEA6DE65985}">
      <dgm:prSet/>
      <dgm:spPr/>
      <dgm:t>
        <a:bodyPr/>
        <a:lstStyle/>
        <a:p>
          <a:endParaRPr lang="sl-SI" noProof="0" dirty="0"/>
        </a:p>
      </dgm:t>
    </dgm:pt>
    <dgm:pt modelId="{92E4A222-15AA-4F4A-853B-D3839CBC402F}">
      <dgm:prSet/>
      <dgm:spPr/>
      <dgm:t>
        <a:bodyPr/>
        <a:lstStyle/>
        <a:p>
          <a:r>
            <a:rPr lang="sl-SI" noProof="0" dirty="0"/>
            <a:t>Gradnja, razširitev in obratovanje zbiranja in čiščenja odpadnih voda</a:t>
          </a:r>
        </a:p>
      </dgm:t>
    </dgm:pt>
    <dgm:pt modelId="{CAD2190A-A14D-40F0-B843-4B0A8D342B1B}" type="parTrans" cxnId="{41D0FEF9-DFEC-4E70-A796-A2425B6125B7}">
      <dgm:prSet/>
      <dgm:spPr/>
      <dgm:t>
        <a:bodyPr/>
        <a:lstStyle/>
        <a:p>
          <a:endParaRPr lang="sl-SI" noProof="0" dirty="0"/>
        </a:p>
      </dgm:t>
    </dgm:pt>
    <dgm:pt modelId="{CF8813E3-63A1-4814-97E0-52E91E6CB091}" type="sibTrans" cxnId="{41D0FEF9-DFEC-4E70-A796-A2425B6125B7}">
      <dgm:prSet/>
      <dgm:spPr/>
      <dgm:t>
        <a:bodyPr/>
        <a:lstStyle/>
        <a:p>
          <a:endParaRPr lang="sl-SI" noProof="0" dirty="0"/>
        </a:p>
      </dgm:t>
    </dgm:pt>
    <dgm:pt modelId="{AC29643D-31A5-4704-B232-7B17C61DBEC2}">
      <dgm:prSet/>
      <dgm:spPr/>
      <dgm:t>
        <a:bodyPr/>
        <a:lstStyle/>
        <a:p>
          <a:r>
            <a:rPr lang="sl-SI" noProof="0" dirty="0"/>
            <a:t>Obnova zbiranja in čiščenja odpadne vode</a:t>
          </a:r>
        </a:p>
      </dgm:t>
    </dgm:pt>
    <dgm:pt modelId="{FC327772-7D1A-47B1-A4FE-9EA523D99265}" type="parTrans" cxnId="{C35981BB-CF0E-49CF-B282-F043535157B0}">
      <dgm:prSet/>
      <dgm:spPr/>
      <dgm:t>
        <a:bodyPr/>
        <a:lstStyle/>
        <a:p>
          <a:endParaRPr lang="sl-SI" noProof="0" dirty="0"/>
        </a:p>
      </dgm:t>
    </dgm:pt>
    <dgm:pt modelId="{AEE0326E-CD22-4010-BA61-4DA36014D743}" type="sibTrans" cxnId="{C35981BB-CF0E-49CF-B282-F043535157B0}">
      <dgm:prSet/>
      <dgm:spPr/>
      <dgm:t>
        <a:bodyPr/>
        <a:lstStyle/>
        <a:p>
          <a:endParaRPr lang="sl-SI" noProof="0" dirty="0"/>
        </a:p>
      </dgm:t>
    </dgm:pt>
    <dgm:pt modelId="{761C9991-BD4D-44EB-A5A1-C2168B6A9344}">
      <dgm:prSet/>
      <dgm:spPr/>
      <dgm:t>
        <a:bodyPr/>
        <a:lstStyle/>
        <a:p>
          <a:r>
            <a:rPr lang="sl-SI" noProof="0" dirty="0"/>
            <a:t>Proizvodnja toplote/hladu z uporabo odpadne toplote</a:t>
          </a:r>
        </a:p>
      </dgm:t>
    </dgm:pt>
    <dgm:pt modelId="{BFB4D54D-681E-44D8-AB44-B34733684927}" type="parTrans" cxnId="{19926A9E-E679-49C4-BE3C-4CA98B7C84E6}">
      <dgm:prSet/>
      <dgm:spPr/>
      <dgm:t>
        <a:bodyPr/>
        <a:lstStyle/>
        <a:p>
          <a:endParaRPr lang="sl-SI" noProof="0" dirty="0"/>
        </a:p>
      </dgm:t>
    </dgm:pt>
    <dgm:pt modelId="{915223F2-A6E1-4E81-AB02-B410B2CF136F}" type="sibTrans" cxnId="{19926A9E-E679-49C4-BE3C-4CA98B7C84E6}">
      <dgm:prSet/>
      <dgm:spPr/>
      <dgm:t>
        <a:bodyPr/>
        <a:lstStyle/>
        <a:p>
          <a:endParaRPr lang="sl-SI" noProof="0" dirty="0"/>
        </a:p>
      </dgm:t>
    </dgm:pt>
    <dgm:pt modelId="{9485E72B-76F6-49C4-AACC-A97884699AA3}">
      <dgm:prSet/>
      <dgm:spPr/>
      <dgm:t>
        <a:bodyPr/>
        <a:lstStyle/>
        <a:p>
          <a:r>
            <a:rPr lang="sl-SI" noProof="0" dirty="0"/>
            <a:t>Zbiranje in prevoz nenevarnih odpadkov v ločenih frakcijah vira</a:t>
          </a:r>
        </a:p>
      </dgm:t>
    </dgm:pt>
    <dgm:pt modelId="{DF909BDB-F469-4210-8303-1FE1F62761EA}" type="parTrans" cxnId="{885F25EC-B2D0-4634-8F44-E336D51376B1}">
      <dgm:prSet/>
      <dgm:spPr/>
      <dgm:t>
        <a:bodyPr/>
        <a:lstStyle/>
        <a:p>
          <a:endParaRPr lang="sl-SI" noProof="0" dirty="0"/>
        </a:p>
      </dgm:t>
    </dgm:pt>
    <dgm:pt modelId="{2BC37E3D-BE72-4A67-827D-1C25636DD44B}" type="sibTrans" cxnId="{885F25EC-B2D0-4634-8F44-E336D51376B1}">
      <dgm:prSet/>
      <dgm:spPr/>
      <dgm:t>
        <a:bodyPr/>
        <a:lstStyle/>
        <a:p>
          <a:endParaRPr lang="sl-SI" noProof="0" dirty="0"/>
        </a:p>
      </dgm:t>
    </dgm:pt>
    <dgm:pt modelId="{A45A751F-ECD4-4A4F-A848-761BA5E531F2}">
      <dgm:prSet/>
      <dgm:spPr/>
      <dgm:t>
        <a:bodyPr/>
        <a:lstStyle/>
        <a:p>
          <a:r>
            <a:rPr lang="sl-SI" noProof="0" dirty="0"/>
            <a:t>Predelava snovi iz nenevarnih odpadkov</a:t>
          </a:r>
        </a:p>
      </dgm:t>
    </dgm:pt>
    <dgm:pt modelId="{C6E3B1A3-1BAB-49A9-83E1-F68A6B38D4D7}" type="parTrans" cxnId="{96F99C6F-E66B-4401-B953-E61CC9A9E163}">
      <dgm:prSet/>
      <dgm:spPr/>
      <dgm:t>
        <a:bodyPr/>
        <a:lstStyle/>
        <a:p>
          <a:endParaRPr lang="sl-SI" noProof="0" dirty="0"/>
        </a:p>
      </dgm:t>
    </dgm:pt>
    <dgm:pt modelId="{FEC1EFC3-05B6-429E-8697-793C6C00DF5B}" type="sibTrans" cxnId="{96F99C6F-E66B-4401-B953-E61CC9A9E163}">
      <dgm:prSet/>
      <dgm:spPr/>
      <dgm:t>
        <a:bodyPr/>
        <a:lstStyle/>
        <a:p>
          <a:endParaRPr lang="sl-SI" noProof="0" dirty="0"/>
        </a:p>
      </dgm:t>
    </dgm:pt>
    <dgm:pt modelId="{9EBD34C2-8CA0-4D6F-8E20-7991CF4ED5AB}" type="pres">
      <dgm:prSet presAssocID="{C6DB6FFD-A897-4D61-9E59-52880A189AE8}" presName="Name0" presStyleCnt="0">
        <dgm:presLayoutVars>
          <dgm:dir/>
          <dgm:animLvl val="lvl"/>
          <dgm:resizeHandles val="exact"/>
        </dgm:presLayoutVars>
      </dgm:prSet>
      <dgm:spPr/>
    </dgm:pt>
    <dgm:pt modelId="{B468FCB1-217F-4073-B39F-26F2E23C62C2}" type="pres">
      <dgm:prSet presAssocID="{2712AA59-9A6D-4FD8-A1C8-EF74944D6325}" presName="vertFlow" presStyleCnt="0"/>
      <dgm:spPr/>
    </dgm:pt>
    <dgm:pt modelId="{84E08169-87ED-4150-A7BB-50AD800CB331}" type="pres">
      <dgm:prSet presAssocID="{2712AA59-9A6D-4FD8-A1C8-EF74944D6325}" presName="header" presStyleLbl="node1" presStyleIdx="0" presStyleCnt="6"/>
      <dgm:spPr/>
    </dgm:pt>
    <dgm:pt modelId="{62D399F5-0466-4209-A402-A49524C2F381}" type="pres">
      <dgm:prSet presAssocID="{D5AD6A75-42EE-4D1C-B32F-9C99D97D04BC}" presName="parTrans" presStyleLbl="sibTrans2D1" presStyleIdx="0" presStyleCnt="30"/>
      <dgm:spPr/>
    </dgm:pt>
    <dgm:pt modelId="{69331816-153D-47E7-984E-946DCDE86A86}" type="pres">
      <dgm:prSet presAssocID="{B87B0A8F-0342-4D6E-9B9C-A3171F170DC7}" presName="child" presStyleLbl="alignAccFollowNode1" presStyleIdx="0" presStyleCnt="30">
        <dgm:presLayoutVars>
          <dgm:chMax val="0"/>
          <dgm:bulletEnabled val="1"/>
        </dgm:presLayoutVars>
      </dgm:prSet>
      <dgm:spPr/>
    </dgm:pt>
    <dgm:pt modelId="{D89F12CB-D340-496A-96CD-4B4A4DDF1DB7}" type="pres">
      <dgm:prSet presAssocID="{3AD64293-9F6D-4960-8715-9BDFEFCFFD74}" presName="sibTrans" presStyleLbl="sibTrans2D1" presStyleIdx="1" presStyleCnt="30"/>
      <dgm:spPr/>
    </dgm:pt>
    <dgm:pt modelId="{02E8FC96-3F7B-4F0B-A46E-6DAB84DDAB70}" type="pres">
      <dgm:prSet presAssocID="{2D85C482-12CB-402C-84EA-48AB5463F3E3}" presName="child" presStyleLbl="alignAccFollowNode1" presStyleIdx="1" presStyleCnt="30">
        <dgm:presLayoutVars>
          <dgm:chMax val="0"/>
          <dgm:bulletEnabled val="1"/>
        </dgm:presLayoutVars>
      </dgm:prSet>
      <dgm:spPr/>
    </dgm:pt>
    <dgm:pt modelId="{DA3902A2-B265-47FD-BA7A-009ACEE00A6F}" type="pres">
      <dgm:prSet presAssocID="{628592C6-8EED-4493-AC0A-4951AD6B8E90}" presName="sibTrans" presStyleLbl="sibTrans2D1" presStyleIdx="2" presStyleCnt="30"/>
      <dgm:spPr/>
    </dgm:pt>
    <dgm:pt modelId="{7F26398F-FE7A-4C4B-A949-9DA1D18C26FE}" type="pres">
      <dgm:prSet presAssocID="{551B9AB9-EFA3-4A87-A58A-DED4C1433AF1}" presName="child" presStyleLbl="alignAccFollowNode1" presStyleIdx="2" presStyleCnt="30">
        <dgm:presLayoutVars>
          <dgm:chMax val="0"/>
          <dgm:bulletEnabled val="1"/>
        </dgm:presLayoutVars>
      </dgm:prSet>
      <dgm:spPr/>
    </dgm:pt>
    <dgm:pt modelId="{D17DE6ED-C6B4-42F9-9027-F474370FE366}" type="pres">
      <dgm:prSet presAssocID="{E334D1F3-3BAB-4597-93AC-E330F2BC4AE3}" presName="sibTrans" presStyleLbl="sibTrans2D1" presStyleIdx="3" presStyleCnt="30"/>
      <dgm:spPr/>
    </dgm:pt>
    <dgm:pt modelId="{801DD107-26F6-42FE-876A-4A73A9780DE5}" type="pres">
      <dgm:prSet presAssocID="{09931536-4805-4AB9-8D26-2C77C5723E77}" presName="child" presStyleLbl="alignAccFollowNode1" presStyleIdx="3" presStyleCnt="30">
        <dgm:presLayoutVars>
          <dgm:chMax val="0"/>
          <dgm:bulletEnabled val="1"/>
        </dgm:presLayoutVars>
      </dgm:prSet>
      <dgm:spPr/>
    </dgm:pt>
    <dgm:pt modelId="{FBF0E29F-33F0-4B9E-908E-85D556C05D94}" type="pres">
      <dgm:prSet presAssocID="{8E3704D4-7A1E-4196-9277-D2895DB4D3D0}" presName="sibTrans" presStyleLbl="sibTrans2D1" presStyleIdx="4" presStyleCnt="30"/>
      <dgm:spPr/>
    </dgm:pt>
    <dgm:pt modelId="{BB7561E6-B340-4CA0-956A-2DD9E63DD34A}" type="pres">
      <dgm:prSet presAssocID="{6AF33201-D0AE-4CD8-A4C3-FB4F3D21916B}" presName="child" presStyleLbl="alignAccFollowNode1" presStyleIdx="4" presStyleCnt="30">
        <dgm:presLayoutVars>
          <dgm:chMax val="0"/>
          <dgm:bulletEnabled val="1"/>
        </dgm:presLayoutVars>
      </dgm:prSet>
      <dgm:spPr/>
    </dgm:pt>
    <dgm:pt modelId="{51110EC9-57DC-42B5-B928-A085E0233937}" type="pres">
      <dgm:prSet presAssocID="{B2C843C7-1EEA-42CC-820E-EEE0F34A3EC0}" presName="sibTrans" presStyleLbl="sibTrans2D1" presStyleIdx="5" presStyleCnt="30"/>
      <dgm:spPr/>
    </dgm:pt>
    <dgm:pt modelId="{932E7172-BFB4-4900-84D4-5EF5E3714EB4}" type="pres">
      <dgm:prSet presAssocID="{1F84CF25-C3D1-4195-AF5D-AFCF8BEE5B8A}" presName="child" presStyleLbl="alignAccFollowNode1" presStyleIdx="5" presStyleCnt="30">
        <dgm:presLayoutVars>
          <dgm:chMax val="0"/>
          <dgm:bulletEnabled val="1"/>
        </dgm:presLayoutVars>
      </dgm:prSet>
      <dgm:spPr/>
    </dgm:pt>
    <dgm:pt modelId="{E44D9C3E-3F65-41F9-8443-BB762D6A894A}" type="pres">
      <dgm:prSet presAssocID="{126B996F-4742-4C93-8A3D-6CB6EA9A1174}" presName="sibTrans" presStyleLbl="sibTrans2D1" presStyleIdx="6" presStyleCnt="30"/>
      <dgm:spPr/>
    </dgm:pt>
    <dgm:pt modelId="{ACC57634-6E9F-46DC-B321-867E1C0E6957}" type="pres">
      <dgm:prSet presAssocID="{1C8EBC63-85EE-41A6-8246-01CE91C598B6}" presName="child" presStyleLbl="alignAccFollowNode1" presStyleIdx="6" presStyleCnt="30">
        <dgm:presLayoutVars>
          <dgm:chMax val="0"/>
          <dgm:bulletEnabled val="1"/>
        </dgm:presLayoutVars>
      </dgm:prSet>
      <dgm:spPr/>
    </dgm:pt>
    <dgm:pt modelId="{7C77D6BC-5C1B-48CF-9BEB-D016095371C6}" type="pres">
      <dgm:prSet presAssocID="{D0973FCC-AC3A-41C1-BD46-3F23111AB4E2}" presName="sibTrans" presStyleLbl="sibTrans2D1" presStyleIdx="7" presStyleCnt="30"/>
      <dgm:spPr/>
    </dgm:pt>
    <dgm:pt modelId="{5C88EC4F-0700-4970-A691-129A3C331A11}" type="pres">
      <dgm:prSet presAssocID="{A64784A1-F66A-4E8B-B36F-DAF962D831B5}" presName="child" presStyleLbl="alignAccFollowNode1" presStyleIdx="7" presStyleCnt="30">
        <dgm:presLayoutVars>
          <dgm:chMax val="0"/>
          <dgm:bulletEnabled val="1"/>
        </dgm:presLayoutVars>
      </dgm:prSet>
      <dgm:spPr/>
    </dgm:pt>
    <dgm:pt modelId="{2F1506C5-07B1-4EF3-9368-9BA3DCA9A4A5}" type="pres">
      <dgm:prSet presAssocID="{7F59DAA7-B3B4-4F1C-A74B-8595F793D9B5}" presName="sibTrans" presStyleLbl="sibTrans2D1" presStyleIdx="8" presStyleCnt="30"/>
      <dgm:spPr/>
    </dgm:pt>
    <dgm:pt modelId="{2DFC1A79-652C-465F-98A5-30B420052E0E}" type="pres">
      <dgm:prSet presAssocID="{2721EC70-B247-4904-8C17-B883A4424DDD}" presName="child" presStyleLbl="alignAccFollowNode1" presStyleIdx="8" presStyleCnt="30">
        <dgm:presLayoutVars>
          <dgm:chMax val="0"/>
          <dgm:bulletEnabled val="1"/>
        </dgm:presLayoutVars>
      </dgm:prSet>
      <dgm:spPr/>
    </dgm:pt>
    <dgm:pt modelId="{AFB63224-04B9-437C-8155-AD01C6B358AA}" type="pres">
      <dgm:prSet presAssocID="{2712AA59-9A6D-4FD8-A1C8-EF74944D6325}" presName="hSp" presStyleCnt="0"/>
      <dgm:spPr/>
    </dgm:pt>
    <dgm:pt modelId="{852F7324-4034-40FD-9407-4A3F73549A44}" type="pres">
      <dgm:prSet presAssocID="{7C4EE80C-E05E-4058-96FA-848BA0A0F386}" presName="vertFlow" presStyleCnt="0"/>
      <dgm:spPr/>
    </dgm:pt>
    <dgm:pt modelId="{A0AF9900-903F-41AB-96D5-E992F23E12A2}" type="pres">
      <dgm:prSet presAssocID="{7C4EE80C-E05E-4058-96FA-848BA0A0F386}" presName="header" presStyleLbl="node1" presStyleIdx="1" presStyleCnt="6"/>
      <dgm:spPr/>
    </dgm:pt>
    <dgm:pt modelId="{33F2B346-3B87-4D73-AF92-4FF33AF15CBC}" type="pres">
      <dgm:prSet presAssocID="{193420F2-0FC8-4E42-B088-30F0F1506B0D}" presName="parTrans" presStyleLbl="sibTrans2D1" presStyleIdx="9" presStyleCnt="30"/>
      <dgm:spPr/>
    </dgm:pt>
    <dgm:pt modelId="{2B2200FF-18B2-412B-B2CA-ABE0BCFD6D7A}" type="pres">
      <dgm:prSet presAssocID="{CB241D9D-C689-4371-A0DF-FF45CA900D17}" presName="child" presStyleLbl="alignAccFollowNode1" presStyleIdx="9" presStyleCnt="30">
        <dgm:presLayoutVars>
          <dgm:chMax val="0"/>
          <dgm:bulletEnabled val="1"/>
        </dgm:presLayoutVars>
      </dgm:prSet>
      <dgm:spPr/>
    </dgm:pt>
    <dgm:pt modelId="{289B096B-F6EC-4325-9DF5-2FC9A3A1443B}" type="pres">
      <dgm:prSet presAssocID="{ECFE39A7-902C-4673-A036-6220B3CCC08A}" presName="sibTrans" presStyleLbl="sibTrans2D1" presStyleIdx="10" presStyleCnt="30"/>
      <dgm:spPr/>
    </dgm:pt>
    <dgm:pt modelId="{B88E2EC1-8B54-44C0-8F8D-D70FA0129640}" type="pres">
      <dgm:prSet presAssocID="{7034C13D-3803-4DA9-9A42-A2AC7816434D}" presName="child" presStyleLbl="alignAccFollowNode1" presStyleIdx="10" presStyleCnt="30">
        <dgm:presLayoutVars>
          <dgm:chMax val="0"/>
          <dgm:bulletEnabled val="1"/>
        </dgm:presLayoutVars>
      </dgm:prSet>
      <dgm:spPr/>
    </dgm:pt>
    <dgm:pt modelId="{BA91AEB4-F16C-460B-BEEE-A64A44EE4434}" type="pres">
      <dgm:prSet presAssocID="{B84ADD0B-0FC4-476E-BC62-5E629FCA113D}" presName="sibTrans" presStyleLbl="sibTrans2D1" presStyleIdx="11" presStyleCnt="30"/>
      <dgm:spPr/>
    </dgm:pt>
    <dgm:pt modelId="{5F71EB54-2069-4459-BDA0-A7BA62777D4C}" type="pres">
      <dgm:prSet presAssocID="{92C703CF-8FEC-44A8-8D6B-9EF54EE2CB96}" presName="child" presStyleLbl="alignAccFollowNode1" presStyleIdx="11" presStyleCnt="30">
        <dgm:presLayoutVars>
          <dgm:chMax val="0"/>
          <dgm:bulletEnabled val="1"/>
        </dgm:presLayoutVars>
      </dgm:prSet>
      <dgm:spPr/>
    </dgm:pt>
    <dgm:pt modelId="{90F09C42-E79F-4032-9AE7-109DC4A40199}" type="pres">
      <dgm:prSet presAssocID="{7C4EE80C-E05E-4058-96FA-848BA0A0F386}" presName="hSp" presStyleCnt="0"/>
      <dgm:spPr/>
    </dgm:pt>
    <dgm:pt modelId="{12112E4F-5514-40F3-A82A-EA40EDDE8DD8}" type="pres">
      <dgm:prSet presAssocID="{BAB0EDB8-C5C1-402D-B53A-1115C2C3D6C0}" presName="vertFlow" presStyleCnt="0"/>
      <dgm:spPr/>
    </dgm:pt>
    <dgm:pt modelId="{7A7C3A00-02FE-46CE-9EF5-987A3336BE26}" type="pres">
      <dgm:prSet presAssocID="{BAB0EDB8-C5C1-402D-B53A-1115C2C3D6C0}" presName="header" presStyleLbl="node1" presStyleIdx="2" presStyleCnt="6"/>
      <dgm:spPr/>
    </dgm:pt>
    <dgm:pt modelId="{28B6514B-BA3F-463E-A3E5-76A64DFB0865}" type="pres">
      <dgm:prSet presAssocID="{A052F15F-87BA-4299-9042-3D2FFC72355E}" presName="parTrans" presStyleLbl="sibTrans2D1" presStyleIdx="12" presStyleCnt="30"/>
      <dgm:spPr/>
    </dgm:pt>
    <dgm:pt modelId="{BE3BDB29-D5A5-4B26-8F1A-08F78053D03E}" type="pres">
      <dgm:prSet presAssocID="{0017CBDE-20AF-4F36-A753-11816C362992}" presName="child" presStyleLbl="alignAccFollowNode1" presStyleIdx="12" presStyleCnt="30">
        <dgm:presLayoutVars>
          <dgm:chMax val="0"/>
          <dgm:bulletEnabled val="1"/>
        </dgm:presLayoutVars>
      </dgm:prSet>
      <dgm:spPr/>
    </dgm:pt>
    <dgm:pt modelId="{43E90049-59B7-4A2E-9415-A1260C371810}" type="pres">
      <dgm:prSet presAssocID="{DA8B5CFE-9D97-4D6F-A148-D66894933FB6}" presName="sibTrans" presStyleLbl="sibTrans2D1" presStyleIdx="13" presStyleCnt="30"/>
      <dgm:spPr/>
    </dgm:pt>
    <dgm:pt modelId="{7C5674A5-3FE3-460E-93BB-AE44569D2D05}" type="pres">
      <dgm:prSet presAssocID="{E2FCCCD3-F509-4FD3-89EB-686E25448182}" presName="child" presStyleLbl="alignAccFollowNode1" presStyleIdx="13" presStyleCnt="30">
        <dgm:presLayoutVars>
          <dgm:chMax val="0"/>
          <dgm:bulletEnabled val="1"/>
        </dgm:presLayoutVars>
      </dgm:prSet>
      <dgm:spPr/>
    </dgm:pt>
    <dgm:pt modelId="{BC0D717B-8B6A-4102-9BF0-34DB477A28F6}" type="pres">
      <dgm:prSet presAssocID="{6E3A28C0-41A1-43CC-AFCB-EFAC15B82F3F}" presName="sibTrans" presStyleLbl="sibTrans2D1" presStyleIdx="14" presStyleCnt="30"/>
      <dgm:spPr/>
    </dgm:pt>
    <dgm:pt modelId="{29B98760-63CF-45A6-92BB-2C5AE1C126F0}" type="pres">
      <dgm:prSet presAssocID="{17724A3B-4244-48EC-BE61-104A203866E6}" presName="child" presStyleLbl="alignAccFollowNode1" presStyleIdx="14" presStyleCnt="30">
        <dgm:presLayoutVars>
          <dgm:chMax val="0"/>
          <dgm:bulletEnabled val="1"/>
        </dgm:presLayoutVars>
      </dgm:prSet>
      <dgm:spPr/>
    </dgm:pt>
    <dgm:pt modelId="{BE537EA2-E376-4F65-A5C4-D8121D036D41}" type="pres">
      <dgm:prSet presAssocID="{D6E89F82-3918-407B-9212-4C81231094B9}" presName="sibTrans" presStyleLbl="sibTrans2D1" presStyleIdx="15" presStyleCnt="30"/>
      <dgm:spPr/>
    </dgm:pt>
    <dgm:pt modelId="{89C95007-3A32-4A27-8BD9-14F1E9FCFEF8}" type="pres">
      <dgm:prSet presAssocID="{63AA9A8F-FA05-4454-8A82-CB42992233FD}" presName="child" presStyleLbl="alignAccFollowNode1" presStyleIdx="15" presStyleCnt="30">
        <dgm:presLayoutVars>
          <dgm:chMax val="0"/>
          <dgm:bulletEnabled val="1"/>
        </dgm:presLayoutVars>
      </dgm:prSet>
      <dgm:spPr/>
    </dgm:pt>
    <dgm:pt modelId="{28058B89-1199-4222-993D-430FAA2EC89C}" type="pres">
      <dgm:prSet presAssocID="{BAB0EDB8-C5C1-402D-B53A-1115C2C3D6C0}" presName="hSp" presStyleCnt="0"/>
      <dgm:spPr/>
    </dgm:pt>
    <dgm:pt modelId="{1E020B8F-5DDD-46EC-B32A-BA9329ADB336}" type="pres">
      <dgm:prSet presAssocID="{56745397-2B7B-4A46-835E-07063652C054}" presName="vertFlow" presStyleCnt="0"/>
      <dgm:spPr/>
    </dgm:pt>
    <dgm:pt modelId="{D2B8707F-F7A5-4F22-9D8E-7C850E3F6457}" type="pres">
      <dgm:prSet presAssocID="{56745397-2B7B-4A46-835E-07063652C054}" presName="header" presStyleLbl="node1" presStyleIdx="3" presStyleCnt="6"/>
      <dgm:spPr/>
    </dgm:pt>
    <dgm:pt modelId="{4F6369DF-D95E-41B3-AAF2-7F91EEBDB9C1}" type="pres">
      <dgm:prSet presAssocID="{2D3A19F0-6E9B-4D22-AD54-CF03EB7B0B1F}" presName="parTrans" presStyleLbl="sibTrans2D1" presStyleIdx="16" presStyleCnt="30"/>
      <dgm:spPr/>
    </dgm:pt>
    <dgm:pt modelId="{3BBB79C8-04EA-4784-8157-E35438E28907}" type="pres">
      <dgm:prSet presAssocID="{2705E795-C59C-4B26-998A-629EB7DC4C1D}" presName="child" presStyleLbl="alignAccFollowNode1" presStyleIdx="16" presStyleCnt="30">
        <dgm:presLayoutVars>
          <dgm:chMax val="0"/>
          <dgm:bulletEnabled val="1"/>
        </dgm:presLayoutVars>
      </dgm:prSet>
      <dgm:spPr/>
    </dgm:pt>
    <dgm:pt modelId="{C2FC76D7-D76E-4E0D-98A6-E4FF6C6E684B}" type="pres">
      <dgm:prSet presAssocID="{464FDECD-76B5-4280-B16B-848CE8091C0C}" presName="sibTrans" presStyleLbl="sibTrans2D1" presStyleIdx="17" presStyleCnt="30"/>
      <dgm:spPr/>
    </dgm:pt>
    <dgm:pt modelId="{CE0D7F2A-22C7-4885-A910-A599F0335DF3}" type="pres">
      <dgm:prSet presAssocID="{441F6ACB-E9A2-4501-BEA3-6BA32A444C9E}" presName="child" presStyleLbl="alignAccFollowNode1" presStyleIdx="17" presStyleCnt="30">
        <dgm:presLayoutVars>
          <dgm:chMax val="0"/>
          <dgm:bulletEnabled val="1"/>
        </dgm:presLayoutVars>
      </dgm:prSet>
      <dgm:spPr/>
    </dgm:pt>
    <dgm:pt modelId="{5E492888-F11C-422D-BCBB-FC9700A7641F}" type="pres">
      <dgm:prSet presAssocID="{F8B46229-782E-4478-987C-178129FBB438}" presName="sibTrans" presStyleLbl="sibTrans2D1" presStyleIdx="18" presStyleCnt="30"/>
      <dgm:spPr/>
    </dgm:pt>
    <dgm:pt modelId="{007B3220-C38D-4B26-A5AF-F8AC81467DDF}" type="pres">
      <dgm:prSet presAssocID="{D67F9D61-5203-4F1F-91AC-24E30F10B1DF}" presName="child" presStyleLbl="alignAccFollowNode1" presStyleIdx="18" presStyleCnt="30">
        <dgm:presLayoutVars>
          <dgm:chMax val="0"/>
          <dgm:bulletEnabled val="1"/>
        </dgm:presLayoutVars>
      </dgm:prSet>
      <dgm:spPr/>
    </dgm:pt>
    <dgm:pt modelId="{7797D667-15FE-4CD5-AD16-B324867AF4A1}" type="pres">
      <dgm:prSet presAssocID="{D8095C02-0170-46EA-A927-69AEADDF33C3}" presName="sibTrans" presStyleLbl="sibTrans2D1" presStyleIdx="19" presStyleCnt="30"/>
      <dgm:spPr/>
    </dgm:pt>
    <dgm:pt modelId="{21F52B8A-7466-4F59-80FA-25DB8C8D9CB9}" type="pres">
      <dgm:prSet presAssocID="{CC39592A-53BD-41E2-9F76-6688DCB0EF7D}" presName="child" presStyleLbl="alignAccFollowNode1" presStyleIdx="19" presStyleCnt="30">
        <dgm:presLayoutVars>
          <dgm:chMax val="0"/>
          <dgm:bulletEnabled val="1"/>
        </dgm:presLayoutVars>
      </dgm:prSet>
      <dgm:spPr/>
    </dgm:pt>
    <dgm:pt modelId="{92023422-9181-4A5E-85EB-EBD5D8E8E69B}" type="pres">
      <dgm:prSet presAssocID="{04DD2987-12C4-4C2C-9311-BA7C2197049D}" presName="sibTrans" presStyleLbl="sibTrans2D1" presStyleIdx="20" presStyleCnt="30"/>
      <dgm:spPr/>
    </dgm:pt>
    <dgm:pt modelId="{00DB150D-F33C-4C54-A074-6D6F3D37E894}" type="pres">
      <dgm:prSet presAssocID="{52847518-E29F-478C-A1A9-4E6EF19D4578}" presName="child" presStyleLbl="alignAccFollowNode1" presStyleIdx="20" presStyleCnt="30">
        <dgm:presLayoutVars>
          <dgm:chMax val="0"/>
          <dgm:bulletEnabled val="1"/>
        </dgm:presLayoutVars>
      </dgm:prSet>
      <dgm:spPr/>
    </dgm:pt>
    <dgm:pt modelId="{B06B6D9B-6802-4F30-9326-34A8D07D2351}" type="pres">
      <dgm:prSet presAssocID="{8CEB7212-4022-47EE-82A4-B600A23BB9E7}" presName="sibTrans" presStyleLbl="sibTrans2D1" presStyleIdx="21" presStyleCnt="30"/>
      <dgm:spPr/>
    </dgm:pt>
    <dgm:pt modelId="{D3989FB8-3DF4-4760-8BD3-EDBEAA54C8E0}" type="pres">
      <dgm:prSet presAssocID="{67F4DA7A-5E13-4DA1-83D7-611B15FBCBE5}" presName="child" presStyleLbl="alignAccFollowNode1" presStyleIdx="21" presStyleCnt="30">
        <dgm:presLayoutVars>
          <dgm:chMax val="0"/>
          <dgm:bulletEnabled val="1"/>
        </dgm:presLayoutVars>
      </dgm:prSet>
      <dgm:spPr/>
    </dgm:pt>
    <dgm:pt modelId="{DF4E2B2E-3BFA-4043-AC21-114A47BB2945}" type="pres">
      <dgm:prSet presAssocID="{CF07D2C7-BC60-42A1-A215-505C76674ADB}" presName="sibTrans" presStyleLbl="sibTrans2D1" presStyleIdx="22" presStyleCnt="30"/>
      <dgm:spPr/>
    </dgm:pt>
    <dgm:pt modelId="{FD668B7E-87D6-4FC3-B785-77015E5F2DBD}" type="pres">
      <dgm:prSet presAssocID="{E64193C5-FEDF-4F81-95CA-74209AD18927}" presName="child" presStyleLbl="alignAccFollowNode1" presStyleIdx="22" presStyleCnt="30">
        <dgm:presLayoutVars>
          <dgm:chMax val="0"/>
          <dgm:bulletEnabled val="1"/>
        </dgm:presLayoutVars>
      </dgm:prSet>
      <dgm:spPr/>
    </dgm:pt>
    <dgm:pt modelId="{E931EDF9-2DFD-4080-B69A-8B4714DA52AD}" type="pres">
      <dgm:prSet presAssocID="{56745397-2B7B-4A46-835E-07063652C054}" presName="hSp" presStyleCnt="0"/>
      <dgm:spPr/>
    </dgm:pt>
    <dgm:pt modelId="{CB728041-77FF-497B-A5DA-CF25347CF9DD}" type="pres">
      <dgm:prSet presAssocID="{AFF86547-6F09-4587-922D-9C4B78A79E22}" presName="vertFlow" presStyleCnt="0"/>
      <dgm:spPr/>
    </dgm:pt>
    <dgm:pt modelId="{DBC3DA7E-5B64-4174-8EB9-C1C4D240E28F}" type="pres">
      <dgm:prSet presAssocID="{AFF86547-6F09-4587-922D-9C4B78A79E22}" presName="header" presStyleLbl="node1" presStyleIdx="4" presStyleCnt="6"/>
      <dgm:spPr/>
    </dgm:pt>
    <dgm:pt modelId="{8E6FA1AE-5581-41A2-A807-12E3D4DC05B2}" type="pres">
      <dgm:prSet presAssocID="{5F17AF55-8DE8-4F3A-964A-CD7FBA46CD8A}" presName="parTrans" presStyleLbl="sibTrans2D1" presStyleIdx="23" presStyleCnt="30"/>
      <dgm:spPr/>
    </dgm:pt>
    <dgm:pt modelId="{82750196-9690-40BA-BC74-0307C361B467}" type="pres">
      <dgm:prSet presAssocID="{D458A37A-4929-47FE-A801-289AFDD5A64A}" presName="child" presStyleLbl="alignAccFollowNode1" presStyleIdx="23" presStyleCnt="30">
        <dgm:presLayoutVars>
          <dgm:chMax val="0"/>
          <dgm:bulletEnabled val="1"/>
        </dgm:presLayoutVars>
      </dgm:prSet>
      <dgm:spPr/>
    </dgm:pt>
    <dgm:pt modelId="{691D3FAF-20C1-4E68-934E-737812CE660A}" type="pres">
      <dgm:prSet presAssocID="{5B383A0B-AAF9-471A-B093-6ED26387E9BF}" presName="sibTrans" presStyleLbl="sibTrans2D1" presStyleIdx="24" presStyleCnt="30"/>
      <dgm:spPr/>
    </dgm:pt>
    <dgm:pt modelId="{9896EF39-3810-41BD-883C-713B1D0369D6}" type="pres">
      <dgm:prSet presAssocID="{EF81A1CA-30A7-4CE1-B4FD-343CBE74C293}" presName="child" presStyleLbl="alignAccFollowNode1" presStyleIdx="24" presStyleCnt="30">
        <dgm:presLayoutVars>
          <dgm:chMax val="0"/>
          <dgm:bulletEnabled val="1"/>
        </dgm:presLayoutVars>
      </dgm:prSet>
      <dgm:spPr/>
    </dgm:pt>
    <dgm:pt modelId="{E5B5C7EF-7C36-40C1-98A4-7315C5929A98}" type="pres">
      <dgm:prSet presAssocID="{9B51E8A4-FF42-4147-A607-446330C00D7A}" presName="sibTrans" presStyleLbl="sibTrans2D1" presStyleIdx="25" presStyleCnt="30"/>
      <dgm:spPr/>
    </dgm:pt>
    <dgm:pt modelId="{1EDFA90B-ACD4-49C0-BFB8-203D583518DC}" type="pres">
      <dgm:prSet presAssocID="{92E4A222-15AA-4F4A-853B-D3839CBC402F}" presName="child" presStyleLbl="alignAccFollowNode1" presStyleIdx="25" presStyleCnt="30">
        <dgm:presLayoutVars>
          <dgm:chMax val="0"/>
          <dgm:bulletEnabled val="1"/>
        </dgm:presLayoutVars>
      </dgm:prSet>
      <dgm:spPr/>
    </dgm:pt>
    <dgm:pt modelId="{F0AA92C9-E204-49C9-B08E-DC632976E33E}" type="pres">
      <dgm:prSet presAssocID="{CF8813E3-63A1-4814-97E0-52E91E6CB091}" presName="sibTrans" presStyleLbl="sibTrans2D1" presStyleIdx="26" presStyleCnt="30"/>
      <dgm:spPr/>
    </dgm:pt>
    <dgm:pt modelId="{AFD8E7F0-E6B0-4A59-AAA0-1E218C5CAF30}" type="pres">
      <dgm:prSet presAssocID="{AC29643D-31A5-4704-B232-7B17C61DBEC2}" presName="child" presStyleLbl="alignAccFollowNode1" presStyleIdx="26" presStyleCnt="30">
        <dgm:presLayoutVars>
          <dgm:chMax val="0"/>
          <dgm:bulletEnabled val="1"/>
        </dgm:presLayoutVars>
      </dgm:prSet>
      <dgm:spPr/>
    </dgm:pt>
    <dgm:pt modelId="{531305EA-5007-4B1E-94A9-8A03BC41E27C}" type="pres">
      <dgm:prSet presAssocID="{AFF86547-6F09-4587-922D-9C4B78A79E22}" presName="hSp" presStyleCnt="0"/>
      <dgm:spPr/>
    </dgm:pt>
    <dgm:pt modelId="{E113B300-4B4D-42C1-A1BC-3FB3E30FFE50}" type="pres">
      <dgm:prSet presAssocID="{B76B0908-8C40-42FE-BE88-C231B6055710}" presName="vertFlow" presStyleCnt="0"/>
      <dgm:spPr/>
    </dgm:pt>
    <dgm:pt modelId="{3338D3DD-9342-435F-B608-B057E506EDA5}" type="pres">
      <dgm:prSet presAssocID="{B76B0908-8C40-42FE-BE88-C231B6055710}" presName="header" presStyleLbl="node1" presStyleIdx="5" presStyleCnt="6"/>
      <dgm:spPr/>
    </dgm:pt>
    <dgm:pt modelId="{952AA319-092C-41B2-9CDB-A71F38AFFCB4}" type="pres">
      <dgm:prSet presAssocID="{BFB4D54D-681E-44D8-AB44-B34733684927}" presName="parTrans" presStyleLbl="sibTrans2D1" presStyleIdx="27" presStyleCnt="30"/>
      <dgm:spPr/>
    </dgm:pt>
    <dgm:pt modelId="{A73DEE85-171C-4FB9-9C34-DD2A4EE570CD}" type="pres">
      <dgm:prSet presAssocID="{761C9991-BD4D-44EB-A5A1-C2168B6A9344}" presName="child" presStyleLbl="alignAccFollowNode1" presStyleIdx="27" presStyleCnt="30">
        <dgm:presLayoutVars>
          <dgm:chMax val="0"/>
          <dgm:bulletEnabled val="1"/>
        </dgm:presLayoutVars>
      </dgm:prSet>
      <dgm:spPr/>
    </dgm:pt>
    <dgm:pt modelId="{9F4AB28A-7655-4EAD-A441-30FAE06CD8CA}" type="pres">
      <dgm:prSet presAssocID="{915223F2-A6E1-4E81-AB02-B410B2CF136F}" presName="sibTrans" presStyleLbl="sibTrans2D1" presStyleIdx="28" presStyleCnt="30"/>
      <dgm:spPr/>
    </dgm:pt>
    <dgm:pt modelId="{4B3D9373-A5B8-4825-9080-17A6F2E07016}" type="pres">
      <dgm:prSet presAssocID="{9485E72B-76F6-49C4-AACC-A97884699AA3}" presName="child" presStyleLbl="alignAccFollowNode1" presStyleIdx="28" presStyleCnt="30">
        <dgm:presLayoutVars>
          <dgm:chMax val="0"/>
          <dgm:bulletEnabled val="1"/>
        </dgm:presLayoutVars>
      </dgm:prSet>
      <dgm:spPr/>
    </dgm:pt>
    <dgm:pt modelId="{3E0FC774-AF56-4A52-97C2-D0B73F52DBC1}" type="pres">
      <dgm:prSet presAssocID="{2BC37E3D-BE72-4A67-827D-1C25636DD44B}" presName="sibTrans" presStyleLbl="sibTrans2D1" presStyleIdx="29" presStyleCnt="30"/>
      <dgm:spPr/>
    </dgm:pt>
    <dgm:pt modelId="{6F510C69-8A41-4C7B-A1B3-98ACA4C30A40}" type="pres">
      <dgm:prSet presAssocID="{A45A751F-ECD4-4A4F-A848-761BA5E531F2}" presName="child" presStyleLbl="alignAccFollowNode1" presStyleIdx="29" presStyleCnt="30">
        <dgm:presLayoutVars>
          <dgm:chMax val="0"/>
          <dgm:bulletEnabled val="1"/>
        </dgm:presLayoutVars>
      </dgm:prSet>
      <dgm:spPr/>
    </dgm:pt>
  </dgm:ptLst>
  <dgm:cxnLst>
    <dgm:cxn modelId="{7C867B01-CBEC-460E-B4D4-8B0DC3AA60A0}" type="presOf" srcId="{761C9991-BD4D-44EB-A5A1-C2168B6A9344}" destId="{A73DEE85-171C-4FB9-9C34-DD2A4EE570CD}" srcOrd="0" destOrd="0" presId="urn:microsoft.com/office/officeart/2005/8/layout/lProcess1"/>
    <dgm:cxn modelId="{6A84CD02-A74D-4744-A057-DDA2A646F478}" type="presOf" srcId="{ECFE39A7-902C-4673-A036-6220B3CCC08A}" destId="{289B096B-F6EC-4325-9DF5-2FC9A3A1443B}" srcOrd="0" destOrd="0" presId="urn:microsoft.com/office/officeart/2005/8/layout/lProcess1"/>
    <dgm:cxn modelId="{7D008403-AB67-4C4F-A333-4871C6E67841}" type="presOf" srcId="{193420F2-0FC8-4E42-B088-30F0F1506B0D}" destId="{33F2B346-3B87-4D73-AF92-4FF33AF15CBC}" srcOrd="0" destOrd="0" presId="urn:microsoft.com/office/officeart/2005/8/layout/lProcess1"/>
    <dgm:cxn modelId="{C5D6AE04-F809-4BB8-BFF0-74E9E7D7E1C8}" type="presOf" srcId="{B76B0908-8C40-42FE-BE88-C231B6055710}" destId="{3338D3DD-9342-435F-B608-B057E506EDA5}" srcOrd="0" destOrd="0" presId="urn:microsoft.com/office/officeart/2005/8/layout/lProcess1"/>
    <dgm:cxn modelId="{A4191405-7102-4E92-8BE6-AEC0352EF532}" type="presOf" srcId="{C6DB6FFD-A897-4D61-9E59-52880A189AE8}" destId="{9EBD34C2-8CA0-4D6F-8E20-7991CF4ED5AB}" srcOrd="0" destOrd="0" presId="urn:microsoft.com/office/officeart/2005/8/layout/lProcess1"/>
    <dgm:cxn modelId="{342F3D06-6B5F-447E-BDA9-7A60DA2C98F7}" type="presOf" srcId="{17724A3B-4244-48EC-BE61-104A203866E6}" destId="{29B98760-63CF-45A6-92BB-2C5AE1C126F0}" srcOrd="0" destOrd="0" presId="urn:microsoft.com/office/officeart/2005/8/layout/lProcess1"/>
    <dgm:cxn modelId="{246EA106-2C3D-42B9-AEB2-772C72647FA0}" srcId="{2712AA59-9A6D-4FD8-A1C8-EF74944D6325}" destId="{1F84CF25-C3D1-4195-AF5D-AFCF8BEE5B8A}" srcOrd="5" destOrd="0" parTransId="{54715532-771C-4C6C-BE16-34DDE81AD33B}" sibTransId="{126B996F-4742-4C93-8A3D-6CB6EA9A1174}"/>
    <dgm:cxn modelId="{A203EB0F-BCDE-4FC7-8C7D-B1F56C37F607}" type="presOf" srcId="{464FDECD-76B5-4280-B16B-848CE8091C0C}" destId="{C2FC76D7-D76E-4E0D-98A6-E4FF6C6E684B}" srcOrd="0" destOrd="0" presId="urn:microsoft.com/office/officeart/2005/8/layout/lProcess1"/>
    <dgm:cxn modelId="{4BEA4F15-C0DF-4B15-93B7-0ADF3C97F2FF}" srcId="{56745397-2B7B-4A46-835E-07063652C054}" destId="{CC39592A-53BD-41E2-9F76-6688DCB0EF7D}" srcOrd="3" destOrd="0" parTransId="{DC69E997-5247-4706-923F-E41625F8886C}" sibTransId="{04DD2987-12C4-4C2C-9311-BA7C2197049D}"/>
    <dgm:cxn modelId="{666DAE16-9BDF-40A3-9F90-AACE80BFE74C}" srcId="{AFF86547-6F09-4587-922D-9C4B78A79E22}" destId="{D458A37A-4929-47FE-A801-289AFDD5A64A}" srcOrd="0" destOrd="0" parTransId="{5F17AF55-8DE8-4F3A-964A-CD7FBA46CD8A}" sibTransId="{5B383A0B-AAF9-471A-B093-6ED26387E9BF}"/>
    <dgm:cxn modelId="{7A574817-1F4F-409F-BFC2-43B28FC78C9E}" type="presOf" srcId="{67F4DA7A-5E13-4DA1-83D7-611B15FBCBE5}" destId="{D3989FB8-3DF4-4760-8BD3-EDBEAA54C8E0}" srcOrd="0" destOrd="0" presId="urn:microsoft.com/office/officeart/2005/8/layout/lProcess1"/>
    <dgm:cxn modelId="{1B1B471F-FCB9-4BD3-9FFC-1F4D100DE4CA}" srcId="{56745397-2B7B-4A46-835E-07063652C054}" destId="{D67F9D61-5203-4F1F-91AC-24E30F10B1DF}" srcOrd="2" destOrd="0" parTransId="{47D46FD7-4613-4603-B009-5B3766112AB6}" sibTransId="{D8095C02-0170-46EA-A927-69AEADDF33C3}"/>
    <dgm:cxn modelId="{A9B6C122-B8ED-4ABF-A95F-2343CE632340}" srcId="{C6DB6FFD-A897-4D61-9E59-52880A189AE8}" destId="{56745397-2B7B-4A46-835E-07063652C054}" srcOrd="3" destOrd="0" parTransId="{AC8D5B17-CCED-4B24-93D8-20523CBBC9AE}" sibTransId="{090228C4-33C2-43EF-B5D9-DBCAD18AE7A9}"/>
    <dgm:cxn modelId="{4F1B9D29-BA53-4634-9A8D-52EDF9483340}" type="presOf" srcId="{7C4EE80C-E05E-4058-96FA-848BA0A0F386}" destId="{A0AF9900-903F-41AB-96D5-E992F23E12A2}" srcOrd="0" destOrd="0" presId="urn:microsoft.com/office/officeart/2005/8/layout/lProcess1"/>
    <dgm:cxn modelId="{4796912A-4A4C-4D8E-8B37-DC067B7CB22C}" srcId="{7C4EE80C-E05E-4058-96FA-848BA0A0F386}" destId="{92C703CF-8FEC-44A8-8D6B-9EF54EE2CB96}" srcOrd="2" destOrd="0" parTransId="{30958250-7CC2-4953-8E54-83F31520CB00}" sibTransId="{BB0C9C2F-F49C-485C-A1DC-0DF005408286}"/>
    <dgm:cxn modelId="{923A0630-A582-4B19-8AF7-D54F08805FF1}" type="presOf" srcId="{52847518-E29F-478C-A1A9-4E6EF19D4578}" destId="{00DB150D-F33C-4C54-A074-6D6F3D37E894}" srcOrd="0" destOrd="0" presId="urn:microsoft.com/office/officeart/2005/8/layout/lProcess1"/>
    <dgm:cxn modelId="{9390AB36-81EA-47CE-9571-4C013FC81C2E}" type="presOf" srcId="{A45A751F-ECD4-4A4F-A848-761BA5E531F2}" destId="{6F510C69-8A41-4C7B-A1B3-98ACA4C30A40}" srcOrd="0" destOrd="0" presId="urn:microsoft.com/office/officeart/2005/8/layout/lProcess1"/>
    <dgm:cxn modelId="{98BD1237-A3A9-49F6-96AB-EAB6CB179A84}" type="presOf" srcId="{A64784A1-F66A-4E8B-B36F-DAF962D831B5}" destId="{5C88EC4F-0700-4970-A691-129A3C331A11}" srcOrd="0" destOrd="0" presId="urn:microsoft.com/office/officeart/2005/8/layout/lProcess1"/>
    <dgm:cxn modelId="{A2CF2338-85C2-4469-8619-906DDD7927E4}" type="presOf" srcId="{E2FCCCD3-F509-4FD3-89EB-686E25448182}" destId="{7C5674A5-3FE3-460E-93BB-AE44569D2D05}" srcOrd="0" destOrd="0" presId="urn:microsoft.com/office/officeart/2005/8/layout/lProcess1"/>
    <dgm:cxn modelId="{AEE22C39-DA27-4A6D-B547-2D2C6CF01F28}" type="presOf" srcId="{7034C13D-3803-4DA9-9A42-A2AC7816434D}" destId="{B88E2EC1-8B54-44C0-8F8D-D70FA0129640}" srcOrd="0" destOrd="0" presId="urn:microsoft.com/office/officeart/2005/8/layout/lProcess1"/>
    <dgm:cxn modelId="{7335303E-4B66-4173-80EF-416AF9CB4545}" type="presOf" srcId="{92C703CF-8FEC-44A8-8D6B-9EF54EE2CB96}" destId="{5F71EB54-2069-4459-BDA0-A7BA62777D4C}" srcOrd="0" destOrd="0" presId="urn:microsoft.com/office/officeart/2005/8/layout/lProcess1"/>
    <dgm:cxn modelId="{7F46885C-82C2-4FA8-B501-08E19E914C66}" type="presOf" srcId="{2712AA59-9A6D-4FD8-A1C8-EF74944D6325}" destId="{84E08169-87ED-4150-A7BB-50AD800CB331}" srcOrd="0" destOrd="0" presId="urn:microsoft.com/office/officeart/2005/8/layout/lProcess1"/>
    <dgm:cxn modelId="{675B2C41-4A7A-4C2B-B1C4-FEDCD29240A4}" type="presOf" srcId="{9B51E8A4-FF42-4147-A607-446330C00D7A}" destId="{E5B5C7EF-7C36-40C1-98A4-7315C5929A98}" srcOrd="0" destOrd="0" presId="urn:microsoft.com/office/officeart/2005/8/layout/lProcess1"/>
    <dgm:cxn modelId="{C2963E41-FE48-4D09-9FE6-0B6854471FE7}" srcId="{C6DB6FFD-A897-4D61-9E59-52880A189AE8}" destId="{B76B0908-8C40-42FE-BE88-C231B6055710}" srcOrd="5" destOrd="0" parTransId="{802AD948-520C-4B9E-8F2D-23857013E936}" sibTransId="{2F0B7D8A-D70B-43B8-90B0-D858349618D4}"/>
    <dgm:cxn modelId="{411F4E42-299E-40A6-87FB-55B3DC883AA2}" type="presOf" srcId="{6AF33201-D0AE-4CD8-A4C3-FB4F3D21916B}" destId="{BB7561E6-B340-4CA0-956A-2DD9E63DD34A}" srcOrd="0" destOrd="0" presId="urn:microsoft.com/office/officeart/2005/8/layout/lProcess1"/>
    <dgm:cxn modelId="{9FCBE542-8B98-45A8-8EED-0624D66D7075}" type="presOf" srcId="{A052F15F-87BA-4299-9042-3D2FFC72355E}" destId="{28B6514B-BA3F-463E-A3E5-76A64DFB0865}" srcOrd="0" destOrd="0" presId="urn:microsoft.com/office/officeart/2005/8/layout/lProcess1"/>
    <dgm:cxn modelId="{31AC8043-8234-4FB4-98A4-F337589DF7BB}" type="presOf" srcId="{09931536-4805-4AB9-8D26-2C77C5723E77}" destId="{801DD107-26F6-42FE-876A-4A73A9780DE5}" srcOrd="0" destOrd="0" presId="urn:microsoft.com/office/officeart/2005/8/layout/lProcess1"/>
    <dgm:cxn modelId="{0B0E0564-4F5C-47F0-AE26-2B112A051109}" type="presOf" srcId="{8E3704D4-7A1E-4196-9277-D2895DB4D3D0}" destId="{FBF0E29F-33F0-4B9E-908E-85D556C05D94}" srcOrd="0" destOrd="0" presId="urn:microsoft.com/office/officeart/2005/8/layout/lProcess1"/>
    <dgm:cxn modelId="{1F9A5344-1B40-46D2-8A3A-7161C93853ED}" type="presOf" srcId="{CF8813E3-63A1-4814-97E0-52E91E6CB091}" destId="{F0AA92C9-E204-49C9-B08E-DC632976E33E}" srcOrd="0" destOrd="0" presId="urn:microsoft.com/office/officeart/2005/8/layout/lProcess1"/>
    <dgm:cxn modelId="{1FDA9465-0322-427F-96DA-1C83442BB2F9}" type="presOf" srcId="{2D85C482-12CB-402C-84EA-48AB5463F3E3}" destId="{02E8FC96-3F7B-4F0B-A46E-6DAB84DDAB70}" srcOrd="0" destOrd="0" presId="urn:microsoft.com/office/officeart/2005/8/layout/lProcess1"/>
    <dgm:cxn modelId="{EB108368-D050-43AE-8CCE-B6399EAA1376}" type="presOf" srcId="{E64193C5-FEDF-4F81-95CA-74209AD18927}" destId="{FD668B7E-87D6-4FC3-B785-77015E5F2DBD}" srcOrd="0" destOrd="0" presId="urn:microsoft.com/office/officeart/2005/8/layout/lProcess1"/>
    <dgm:cxn modelId="{43709648-8CE8-4A1A-B906-D33377F789CC}" type="presOf" srcId="{BFB4D54D-681E-44D8-AB44-B34733684927}" destId="{952AA319-092C-41B2-9CDB-A71F38AFFCB4}" srcOrd="0" destOrd="0" presId="urn:microsoft.com/office/officeart/2005/8/layout/lProcess1"/>
    <dgm:cxn modelId="{F3D2504A-907E-4F8C-A33F-FC07BC94D96D}" srcId="{C6DB6FFD-A897-4D61-9E59-52880A189AE8}" destId="{7C4EE80C-E05E-4058-96FA-848BA0A0F386}" srcOrd="1" destOrd="0" parTransId="{492143B0-1CE3-494E-B705-402720784F92}" sibTransId="{3126D40F-50A3-472D-A04B-D7FEA591578F}"/>
    <dgm:cxn modelId="{001B856A-F124-45BC-BC17-C767BC70AFBE}" type="presOf" srcId="{1C8EBC63-85EE-41A6-8246-01CE91C598B6}" destId="{ACC57634-6E9F-46DC-B321-867E1C0E6957}" srcOrd="0" destOrd="0" presId="urn:microsoft.com/office/officeart/2005/8/layout/lProcess1"/>
    <dgm:cxn modelId="{6CA02A4B-1F5E-43DC-AF56-752A39355E48}" type="presOf" srcId="{D8095C02-0170-46EA-A927-69AEADDF33C3}" destId="{7797D667-15FE-4CD5-AD16-B324867AF4A1}" srcOrd="0" destOrd="0" presId="urn:microsoft.com/office/officeart/2005/8/layout/lProcess1"/>
    <dgm:cxn modelId="{0C1FA04C-2413-467D-B705-97D575C6BAB7}" srcId="{C6DB6FFD-A897-4D61-9E59-52880A189AE8}" destId="{2712AA59-9A6D-4FD8-A1C8-EF74944D6325}" srcOrd="0" destOrd="0" parTransId="{B1D9D1A0-E639-42FF-BF4A-252896C7AD49}" sibTransId="{000C2DD8-2DA1-4746-B458-96EB31ED9083}"/>
    <dgm:cxn modelId="{BF04754D-5B15-4F72-A7FC-F794A4AC163C}" type="presOf" srcId="{EF81A1CA-30A7-4CE1-B4FD-343CBE74C293}" destId="{9896EF39-3810-41BD-883C-713B1D0369D6}" srcOrd="0" destOrd="0" presId="urn:microsoft.com/office/officeart/2005/8/layout/lProcess1"/>
    <dgm:cxn modelId="{FC16B44D-6B01-41FE-8D8A-CE060ACCBC96}" type="presOf" srcId="{2721EC70-B247-4904-8C17-B883A4424DDD}" destId="{2DFC1A79-652C-465F-98A5-30B420052E0E}" srcOrd="0" destOrd="0" presId="urn:microsoft.com/office/officeart/2005/8/layout/lProcess1"/>
    <dgm:cxn modelId="{56D63F4E-0763-446A-A3DC-EBE2ABD6706A}" type="presOf" srcId="{0017CBDE-20AF-4F36-A753-11816C362992}" destId="{BE3BDB29-D5A5-4B26-8F1A-08F78053D03E}" srcOrd="0" destOrd="0" presId="urn:microsoft.com/office/officeart/2005/8/layout/lProcess1"/>
    <dgm:cxn modelId="{CB66986E-5A10-48E3-8459-11BFCC660BCD}" type="presOf" srcId="{CC39592A-53BD-41E2-9F76-6688DCB0EF7D}" destId="{21F52B8A-7466-4F59-80FA-25DB8C8D9CB9}" srcOrd="0" destOrd="0" presId="urn:microsoft.com/office/officeart/2005/8/layout/lProcess1"/>
    <dgm:cxn modelId="{35BA4F6F-4882-48E6-9780-80797B4003B5}" type="presOf" srcId="{6E3A28C0-41A1-43CC-AFCB-EFAC15B82F3F}" destId="{BC0D717B-8B6A-4102-9BF0-34DB477A28F6}" srcOrd="0" destOrd="0" presId="urn:microsoft.com/office/officeart/2005/8/layout/lProcess1"/>
    <dgm:cxn modelId="{96F99C6F-E66B-4401-B953-E61CC9A9E163}" srcId="{B76B0908-8C40-42FE-BE88-C231B6055710}" destId="{A45A751F-ECD4-4A4F-A848-761BA5E531F2}" srcOrd="2" destOrd="0" parTransId="{C6E3B1A3-1BAB-49A9-83E1-F68A6B38D4D7}" sibTransId="{FEC1EFC3-05B6-429E-8697-793C6C00DF5B}"/>
    <dgm:cxn modelId="{1BC92A52-976F-4607-942C-1A7AB612FCAB}" type="presOf" srcId="{126B996F-4742-4C93-8A3D-6CB6EA9A1174}" destId="{E44D9C3E-3F65-41F9-8443-BB762D6A894A}" srcOrd="0" destOrd="0" presId="urn:microsoft.com/office/officeart/2005/8/layout/lProcess1"/>
    <dgm:cxn modelId="{9029B452-282F-48FB-86E5-07F95B057036}" type="presOf" srcId="{56745397-2B7B-4A46-835E-07063652C054}" destId="{D2B8707F-F7A5-4F22-9D8E-7C850E3F6457}" srcOrd="0" destOrd="0" presId="urn:microsoft.com/office/officeart/2005/8/layout/lProcess1"/>
    <dgm:cxn modelId="{55080A74-F847-43F6-A0BB-77ACF977D2D2}" srcId="{2712AA59-9A6D-4FD8-A1C8-EF74944D6325}" destId="{1C8EBC63-85EE-41A6-8246-01CE91C598B6}" srcOrd="6" destOrd="0" parTransId="{F263F3D0-ACAD-4885-ACEE-5D54F902CB51}" sibTransId="{D0973FCC-AC3A-41C1-BD46-3F23111AB4E2}"/>
    <dgm:cxn modelId="{B0EC8454-EB67-4C65-B4C6-801856A4E478}" srcId="{2712AA59-9A6D-4FD8-A1C8-EF74944D6325}" destId="{A64784A1-F66A-4E8B-B36F-DAF962D831B5}" srcOrd="7" destOrd="0" parTransId="{77FB8E6B-479F-4C53-AA39-8579966D725F}" sibTransId="{7F59DAA7-B3B4-4F1C-A74B-8595F793D9B5}"/>
    <dgm:cxn modelId="{B2446B55-B071-4806-9328-2B5E716C8921}" srcId="{2712AA59-9A6D-4FD8-A1C8-EF74944D6325}" destId="{551B9AB9-EFA3-4A87-A58A-DED4C1433AF1}" srcOrd="2" destOrd="0" parTransId="{6D6B9218-02E7-4252-B9D2-412270F38851}" sibTransId="{E334D1F3-3BAB-4597-93AC-E330F2BC4AE3}"/>
    <dgm:cxn modelId="{E0805A75-08F2-439C-9132-549527248DCA}" type="presOf" srcId="{DA8B5CFE-9D97-4D6F-A148-D66894933FB6}" destId="{43E90049-59B7-4A2E-9415-A1260C371810}" srcOrd="0" destOrd="0" presId="urn:microsoft.com/office/officeart/2005/8/layout/lProcess1"/>
    <dgm:cxn modelId="{F4C4D576-F728-4B6F-AC88-2BFB574474C0}" type="presOf" srcId="{AFF86547-6F09-4587-922D-9C4B78A79E22}" destId="{DBC3DA7E-5B64-4174-8EB9-C1C4D240E28F}" srcOrd="0" destOrd="0" presId="urn:microsoft.com/office/officeart/2005/8/layout/lProcess1"/>
    <dgm:cxn modelId="{A3F41B57-FD78-42ED-92F5-1099F7898E9F}" type="presOf" srcId="{441F6ACB-E9A2-4501-BEA3-6BA32A444C9E}" destId="{CE0D7F2A-22C7-4885-A910-A599F0335DF3}" srcOrd="0" destOrd="0" presId="urn:microsoft.com/office/officeart/2005/8/layout/lProcess1"/>
    <dgm:cxn modelId="{64DABE77-08D2-4479-92C4-6656B42AA643}" srcId="{2712AA59-9A6D-4FD8-A1C8-EF74944D6325}" destId="{2D85C482-12CB-402C-84EA-48AB5463F3E3}" srcOrd="1" destOrd="0" parTransId="{2FF19F08-669B-4BE4-BDA9-55F751FAACEE}" sibTransId="{628592C6-8EED-4493-AC0A-4951AD6B8E90}"/>
    <dgm:cxn modelId="{AA76D157-3ADE-4093-8B7E-1996A3459C9D}" srcId="{C6DB6FFD-A897-4D61-9E59-52880A189AE8}" destId="{BAB0EDB8-C5C1-402D-B53A-1115C2C3D6C0}" srcOrd="2" destOrd="0" parTransId="{0F4A606E-4A4A-4A8A-A8E6-6DBC9A131986}" sibTransId="{7229E4C9-ACA2-4812-AD85-6ABEBE19D6AB}"/>
    <dgm:cxn modelId="{DF3CCA59-B670-4882-8684-51555FE54646}" type="presOf" srcId="{B87B0A8F-0342-4D6E-9B9C-A3171F170DC7}" destId="{69331816-153D-47E7-984E-946DCDE86A86}" srcOrd="0" destOrd="0" presId="urn:microsoft.com/office/officeart/2005/8/layout/lProcess1"/>
    <dgm:cxn modelId="{22C20D87-F15C-4EE7-A3F9-55C97D821210}" type="presOf" srcId="{CF07D2C7-BC60-42A1-A215-505C76674ADB}" destId="{DF4E2B2E-3BFA-4043-AC21-114A47BB2945}" srcOrd="0" destOrd="0" presId="urn:microsoft.com/office/officeart/2005/8/layout/lProcess1"/>
    <dgm:cxn modelId="{0EA1FC89-A21F-4548-AB6C-19709D6FA3E2}" type="presOf" srcId="{D0973FCC-AC3A-41C1-BD46-3F23111AB4E2}" destId="{7C77D6BC-5C1B-48CF-9BEB-D016095371C6}" srcOrd="0" destOrd="0" presId="urn:microsoft.com/office/officeart/2005/8/layout/lProcess1"/>
    <dgm:cxn modelId="{C5C2D18A-4D14-4D76-B036-B34498603A65}" srcId="{BAB0EDB8-C5C1-402D-B53A-1115C2C3D6C0}" destId="{17724A3B-4244-48EC-BE61-104A203866E6}" srcOrd="2" destOrd="0" parTransId="{2CE0A8BF-39B5-467E-8E05-D02C7E13C303}" sibTransId="{D6E89F82-3918-407B-9212-4C81231094B9}"/>
    <dgm:cxn modelId="{29D9BB8B-A1F7-4835-9C7A-D7A78A21984B}" type="presOf" srcId="{3AD64293-9F6D-4960-8715-9BDFEFCFFD74}" destId="{D89F12CB-D340-496A-96CD-4B4A4DDF1DB7}" srcOrd="0" destOrd="0" presId="urn:microsoft.com/office/officeart/2005/8/layout/lProcess1"/>
    <dgm:cxn modelId="{4FF4308E-3390-4508-8665-80C2A0B49701}" type="presOf" srcId="{1F84CF25-C3D1-4195-AF5D-AFCF8BEE5B8A}" destId="{932E7172-BFB4-4900-84D4-5EF5E3714EB4}" srcOrd="0" destOrd="0" presId="urn:microsoft.com/office/officeart/2005/8/layout/lProcess1"/>
    <dgm:cxn modelId="{D8AF3E8E-6327-4A6A-95E5-39107A2AE631}" srcId="{56745397-2B7B-4A46-835E-07063652C054}" destId="{441F6ACB-E9A2-4501-BEA3-6BA32A444C9E}" srcOrd="1" destOrd="0" parTransId="{447DF6EE-0AB3-4016-8A21-DBF369B51E5A}" sibTransId="{F8B46229-782E-4478-987C-178129FBB438}"/>
    <dgm:cxn modelId="{8AFB0B91-BAB3-4B91-9994-B391AA0E7C8D}" srcId="{7C4EE80C-E05E-4058-96FA-848BA0A0F386}" destId="{7034C13D-3803-4DA9-9A42-A2AC7816434D}" srcOrd="1" destOrd="0" parTransId="{A63E6235-4A7A-4DD3-8FA8-46AB3E38CFE0}" sibTransId="{B84ADD0B-0FC4-476E-BC62-5E629FCA113D}"/>
    <dgm:cxn modelId="{DC37DB93-6AFA-4EBC-945B-30048D455A6C}" type="presOf" srcId="{B84ADD0B-0FC4-476E-BC62-5E629FCA113D}" destId="{BA91AEB4-F16C-460B-BEEE-A64A44EE4434}" srcOrd="0" destOrd="0" presId="urn:microsoft.com/office/officeart/2005/8/layout/lProcess1"/>
    <dgm:cxn modelId="{8DD05497-1A5F-4E7F-AFA7-748EE8187853}" type="presOf" srcId="{F8B46229-782E-4478-987C-178129FBB438}" destId="{5E492888-F11C-422D-BCBB-FC9700A7641F}" srcOrd="0" destOrd="0" presId="urn:microsoft.com/office/officeart/2005/8/layout/lProcess1"/>
    <dgm:cxn modelId="{25951A99-1419-494A-9DF3-6A26ACB1C42F}" type="presOf" srcId="{D6E89F82-3918-407B-9212-4C81231094B9}" destId="{BE537EA2-E376-4F65-A5C4-D8121D036D41}" srcOrd="0" destOrd="0" presId="urn:microsoft.com/office/officeart/2005/8/layout/lProcess1"/>
    <dgm:cxn modelId="{641B6B99-7D26-4844-8AA3-87AFC67923D0}" type="presOf" srcId="{04DD2987-12C4-4C2C-9311-BA7C2197049D}" destId="{92023422-9181-4A5E-85EB-EBD5D8E8E69B}" srcOrd="0" destOrd="0" presId="urn:microsoft.com/office/officeart/2005/8/layout/lProcess1"/>
    <dgm:cxn modelId="{EE81C49B-B800-4F77-BF22-3129F8A72F94}" type="presOf" srcId="{D5AD6A75-42EE-4D1C-B32F-9C99D97D04BC}" destId="{62D399F5-0466-4209-A402-A49524C2F381}" srcOrd="0" destOrd="0" presId="urn:microsoft.com/office/officeart/2005/8/layout/lProcess1"/>
    <dgm:cxn modelId="{D861B39C-5BD6-49CE-A992-A8163A627356}" srcId="{2712AA59-9A6D-4FD8-A1C8-EF74944D6325}" destId="{6AF33201-D0AE-4CD8-A4C3-FB4F3D21916B}" srcOrd="4" destOrd="0" parTransId="{A372BB1A-5223-409F-9B48-2096753179A2}" sibTransId="{B2C843C7-1EEA-42CC-820E-EEE0F34A3EC0}"/>
    <dgm:cxn modelId="{C7AB8E9D-7F74-48A2-AD7F-3AE6F4904AC9}" srcId="{C6DB6FFD-A897-4D61-9E59-52880A189AE8}" destId="{AFF86547-6F09-4587-922D-9C4B78A79E22}" srcOrd="4" destOrd="0" parTransId="{51E22D4F-B44A-49D2-9B7E-66CF0AF9ACB4}" sibTransId="{99B748BB-88C2-4CF5-9920-7C2A56601693}"/>
    <dgm:cxn modelId="{19926A9E-E679-49C4-BE3C-4CA98B7C84E6}" srcId="{B76B0908-8C40-42FE-BE88-C231B6055710}" destId="{761C9991-BD4D-44EB-A5A1-C2168B6A9344}" srcOrd="0" destOrd="0" parTransId="{BFB4D54D-681E-44D8-AB44-B34733684927}" sibTransId="{915223F2-A6E1-4E81-AB02-B410B2CF136F}"/>
    <dgm:cxn modelId="{11BB25A6-6C16-4666-93B2-0BD2638BAF70}" type="presOf" srcId="{5B383A0B-AAF9-471A-B093-6ED26387E9BF}" destId="{691D3FAF-20C1-4E68-934E-737812CE660A}" srcOrd="0" destOrd="0" presId="urn:microsoft.com/office/officeart/2005/8/layout/lProcess1"/>
    <dgm:cxn modelId="{29A158A8-BBF3-4E47-A283-48E08CD9EA36}" srcId="{BAB0EDB8-C5C1-402D-B53A-1115C2C3D6C0}" destId="{63AA9A8F-FA05-4454-8A82-CB42992233FD}" srcOrd="3" destOrd="0" parTransId="{04C18E67-CAC8-4E82-9E69-66CEE7E8D870}" sibTransId="{E3C30874-4757-4813-882A-8521C3E969F9}"/>
    <dgm:cxn modelId="{FC1A46A9-86FC-442F-AF4D-4411BC676D27}" srcId="{2712AA59-9A6D-4FD8-A1C8-EF74944D6325}" destId="{B87B0A8F-0342-4D6E-9B9C-A3171F170DC7}" srcOrd="0" destOrd="0" parTransId="{D5AD6A75-42EE-4D1C-B32F-9C99D97D04BC}" sibTransId="{3AD64293-9F6D-4960-8715-9BDFEFCFFD74}"/>
    <dgm:cxn modelId="{A190D7A9-7E0E-4D03-A099-F1EAB1D6687A}" type="presOf" srcId="{551B9AB9-EFA3-4A87-A58A-DED4C1433AF1}" destId="{7F26398F-FE7A-4C4B-A949-9DA1D18C26FE}" srcOrd="0" destOrd="0" presId="urn:microsoft.com/office/officeart/2005/8/layout/lProcess1"/>
    <dgm:cxn modelId="{2D261CAB-3F27-4E6E-B874-52F520909672}" srcId="{2712AA59-9A6D-4FD8-A1C8-EF74944D6325}" destId="{09931536-4805-4AB9-8D26-2C77C5723E77}" srcOrd="3" destOrd="0" parTransId="{3E00D29F-4693-422C-B3BC-65E743BECD6F}" sibTransId="{8E3704D4-7A1E-4196-9277-D2895DB4D3D0}"/>
    <dgm:cxn modelId="{DFBD60AC-8868-4671-B266-0B1B1D7C1004}" type="presOf" srcId="{E334D1F3-3BAB-4597-93AC-E330F2BC4AE3}" destId="{D17DE6ED-C6B4-42F9-9027-F474370FE366}" srcOrd="0" destOrd="0" presId="urn:microsoft.com/office/officeart/2005/8/layout/lProcess1"/>
    <dgm:cxn modelId="{B10972B0-6F03-4AE3-804B-89BCDE472304}" srcId="{7C4EE80C-E05E-4058-96FA-848BA0A0F386}" destId="{CB241D9D-C689-4371-A0DF-FF45CA900D17}" srcOrd="0" destOrd="0" parTransId="{193420F2-0FC8-4E42-B088-30F0F1506B0D}" sibTransId="{ECFE39A7-902C-4673-A036-6220B3CCC08A}"/>
    <dgm:cxn modelId="{9DC4ADB1-8401-4058-9BB1-BAF78EB19E5E}" srcId="{56745397-2B7B-4A46-835E-07063652C054}" destId="{52847518-E29F-478C-A1A9-4E6EF19D4578}" srcOrd="4" destOrd="0" parTransId="{99E26DBD-27E7-4FD3-92D0-A18751E6CBB2}" sibTransId="{8CEB7212-4022-47EE-82A4-B600A23BB9E7}"/>
    <dgm:cxn modelId="{60EEAFB2-B199-4D28-9EA5-149A77FE27DC}" type="presOf" srcId="{2BC37E3D-BE72-4A67-827D-1C25636DD44B}" destId="{3E0FC774-AF56-4A52-97C2-D0B73F52DBC1}" srcOrd="0" destOrd="0" presId="urn:microsoft.com/office/officeart/2005/8/layout/lProcess1"/>
    <dgm:cxn modelId="{D2B471B4-3C86-443A-8797-93AD2F3B16A3}" type="presOf" srcId="{915223F2-A6E1-4E81-AB02-B410B2CF136F}" destId="{9F4AB28A-7655-4EAD-A441-30FAE06CD8CA}" srcOrd="0" destOrd="0" presId="urn:microsoft.com/office/officeart/2005/8/layout/lProcess1"/>
    <dgm:cxn modelId="{C35981BB-CF0E-49CF-B282-F043535157B0}" srcId="{AFF86547-6F09-4587-922D-9C4B78A79E22}" destId="{AC29643D-31A5-4704-B232-7B17C61DBEC2}" srcOrd="3" destOrd="0" parTransId="{FC327772-7D1A-47B1-A4FE-9EA523D99265}" sibTransId="{AEE0326E-CD22-4010-BA61-4DA36014D743}"/>
    <dgm:cxn modelId="{C592FDBB-E2A6-4EB1-9E82-CFC5693894C8}" srcId="{56745397-2B7B-4A46-835E-07063652C054}" destId="{E64193C5-FEDF-4F81-95CA-74209AD18927}" srcOrd="6" destOrd="0" parTransId="{752A91FB-1013-4B70-AB48-F7EDDC171BEC}" sibTransId="{81670131-BBAE-4E30-A93C-322558787C62}"/>
    <dgm:cxn modelId="{749DBABC-75C8-4711-B009-8D39B5E96701}" type="presOf" srcId="{2705E795-C59C-4B26-998A-629EB7DC4C1D}" destId="{3BBB79C8-04EA-4784-8157-E35438E28907}" srcOrd="0" destOrd="0" presId="urn:microsoft.com/office/officeart/2005/8/layout/lProcess1"/>
    <dgm:cxn modelId="{F0965FBE-228B-44FC-944D-CD9E28C1D011}" type="presOf" srcId="{628592C6-8EED-4493-AC0A-4951AD6B8E90}" destId="{DA3902A2-B265-47FD-BA7A-009ACEE00A6F}" srcOrd="0" destOrd="0" presId="urn:microsoft.com/office/officeart/2005/8/layout/lProcess1"/>
    <dgm:cxn modelId="{77B395BF-E5B4-4B59-B4FE-256A0BD96D0D}" type="presOf" srcId="{92E4A222-15AA-4F4A-853B-D3839CBC402F}" destId="{1EDFA90B-ACD4-49C0-BFB8-203D583518DC}" srcOrd="0" destOrd="0" presId="urn:microsoft.com/office/officeart/2005/8/layout/lProcess1"/>
    <dgm:cxn modelId="{09B99CBF-6E01-4EFC-B9CF-512F4E53F138}" srcId="{2712AA59-9A6D-4FD8-A1C8-EF74944D6325}" destId="{2721EC70-B247-4904-8C17-B883A4424DDD}" srcOrd="8" destOrd="0" parTransId="{42B8B984-31E3-42CF-9559-B8981E156DDB}" sibTransId="{04E5AB14-E2D3-47A0-AF1D-D1083B0B375B}"/>
    <dgm:cxn modelId="{BF9695C1-5C71-49FE-A6D7-05E21ED0D3F2}" type="presOf" srcId="{63AA9A8F-FA05-4454-8A82-CB42992233FD}" destId="{89C95007-3A32-4A27-8BD9-14F1E9FCFEF8}" srcOrd="0" destOrd="0" presId="urn:microsoft.com/office/officeart/2005/8/layout/lProcess1"/>
    <dgm:cxn modelId="{B3F294CA-18F2-4B40-8756-A74C666B6151}" type="presOf" srcId="{B2C843C7-1EEA-42CC-820E-EEE0F34A3EC0}" destId="{51110EC9-57DC-42B5-B928-A085E0233937}" srcOrd="0" destOrd="0" presId="urn:microsoft.com/office/officeart/2005/8/layout/lProcess1"/>
    <dgm:cxn modelId="{D83CDACB-60A5-4307-9E2A-851BCCA0720A}" type="presOf" srcId="{D67F9D61-5203-4F1F-91AC-24E30F10B1DF}" destId="{007B3220-C38D-4B26-A5AF-F8AC81467DDF}" srcOrd="0" destOrd="0" presId="urn:microsoft.com/office/officeart/2005/8/layout/lProcess1"/>
    <dgm:cxn modelId="{C52048CC-9C44-42D4-B606-36B83D21C71D}" type="presOf" srcId="{2D3A19F0-6E9B-4D22-AD54-CF03EB7B0B1F}" destId="{4F6369DF-D95E-41B3-AAF2-7F91EEBDB9C1}" srcOrd="0" destOrd="0" presId="urn:microsoft.com/office/officeart/2005/8/layout/lProcess1"/>
    <dgm:cxn modelId="{D19820CF-1D98-4328-AD03-EC48F7B3FBF1}" type="presOf" srcId="{AC29643D-31A5-4704-B232-7B17C61DBEC2}" destId="{AFD8E7F0-E6B0-4A59-AAA0-1E218C5CAF30}" srcOrd="0" destOrd="0" presId="urn:microsoft.com/office/officeart/2005/8/layout/lProcess1"/>
    <dgm:cxn modelId="{EBC09ED9-54E2-4223-9A30-E0EEF2BE958C}" type="presOf" srcId="{8CEB7212-4022-47EE-82A4-B600A23BB9E7}" destId="{B06B6D9B-6802-4F30-9326-34A8D07D2351}" srcOrd="0" destOrd="0" presId="urn:microsoft.com/office/officeart/2005/8/layout/lProcess1"/>
    <dgm:cxn modelId="{C67D59DA-6B68-4EBE-B9C0-A88B4C27A30C}" srcId="{BAB0EDB8-C5C1-402D-B53A-1115C2C3D6C0}" destId="{E2FCCCD3-F509-4FD3-89EB-686E25448182}" srcOrd="1" destOrd="0" parTransId="{BAFC6D81-ECFB-4308-AAE5-43A51D081F96}" sibTransId="{6E3A28C0-41A1-43CC-AFCB-EFAC15B82F3F}"/>
    <dgm:cxn modelId="{B51A24DD-5873-4A20-B957-64EA4D8B88A6}" type="presOf" srcId="{D458A37A-4929-47FE-A801-289AFDD5A64A}" destId="{82750196-9690-40BA-BC74-0307C361B467}" srcOrd="0" destOrd="0" presId="urn:microsoft.com/office/officeart/2005/8/layout/lProcess1"/>
    <dgm:cxn modelId="{4A0E52DD-2A51-480D-A535-69B8667C284F}" srcId="{56745397-2B7B-4A46-835E-07063652C054}" destId="{2705E795-C59C-4B26-998A-629EB7DC4C1D}" srcOrd="0" destOrd="0" parTransId="{2D3A19F0-6E9B-4D22-AD54-CF03EB7B0B1F}" sibTransId="{464FDECD-76B5-4280-B16B-848CE8091C0C}"/>
    <dgm:cxn modelId="{A36F6ADF-A4A9-43B6-9E79-BDA5481DE94D}" type="presOf" srcId="{9485E72B-76F6-49C4-AACC-A97884699AA3}" destId="{4B3D9373-A5B8-4825-9080-17A6F2E07016}" srcOrd="0" destOrd="0" presId="urn:microsoft.com/office/officeart/2005/8/layout/lProcess1"/>
    <dgm:cxn modelId="{FF6411E2-A7E7-4D5D-80D9-4586D59B10F3}" type="presOf" srcId="{5F17AF55-8DE8-4F3A-964A-CD7FBA46CD8A}" destId="{8E6FA1AE-5581-41A2-A807-12E3D4DC05B2}" srcOrd="0" destOrd="0" presId="urn:microsoft.com/office/officeart/2005/8/layout/lProcess1"/>
    <dgm:cxn modelId="{885F25EC-B2D0-4634-8F44-E336D51376B1}" srcId="{B76B0908-8C40-42FE-BE88-C231B6055710}" destId="{9485E72B-76F6-49C4-AACC-A97884699AA3}" srcOrd="1" destOrd="0" parTransId="{DF909BDB-F469-4210-8303-1FE1F62761EA}" sibTransId="{2BC37E3D-BE72-4A67-827D-1C25636DD44B}"/>
    <dgm:cxn modelId="{A96CA2F2-CBC0-413D-80A7-023E51FC8968}" type="presOf" srcId="{7F59DAA7-B3B4-4F1C-A74B-8595F793D9B5}" destId="{2F1506C5-07B1-4EF3-9368-9BA3DCA9A4A5}" srcOrd="0" destOrd="0" presId="urn:microsoft.com/office/officeart/2005/8/layout/lProcess1"/>
    <dgm:cxn modelId="{77286FF7-8E38-4E4C-A061-D546474EF22C}" type="presOf" srcId="{BAB0EDB8-C5C1-402D-B53A-1115C2C3D6C0}" destId="{7A7C3A00-02FE-46CE-9EF5-987A3336BE26}" srcOrd="0" destOrd="0" presId="urn:microsoft.com/office/officeart/2005/8/layout/lProcess1"/>
    <dgm:cxn modelId="{45873DF8-CE8E-4164-8ED3-D0C66AB06B53}" type="presOf" srcId="{CB241D9D-C689-4371-A0DF-FF45CA900D17}" destId="{2B2200FF-18B2-412B-B2CA-ABE0BCFD6D7A}" srcOrd="0" destOrd="0" presId="urn:microsoft.com/office/officeart/2005/8/layout/lProcess1"/>
    <dgm:cxn modelId="{41D0FEF9-DFEC-4E70-A796-A2425B6125B7}" srcId="{AFF86547-6F09-4587-922D-9C4B78A79E22}" destId="{92E4A222-15AA-4F4A-853B-D3839CBC402F}" srcOrd="2" destOrd="0" parTransId="{CAD2190A-A14D-40F0-B843-4B0A8D342B1B}" sibTransId="{CF8813E3-63A1-4814-97E0-52E91E6CB091}"/>
    <dgm:cxn modelId="{225CC2FC-1FF8-4BAE-8213-2BEA6DE65985}" srcId="{AFF86547-6F09-4587-922D-9C4B78A79E22}" destId="{EF81A1CA-30A7-4CE1-B4FD-343CBE74C293}" srcOrd="1" destOrd="0" parTransId="{19F45E29-39EA-4029-8BB1-2D7F2F8F276C}" sibTransId="{9B51E8A4-FF42-4147-A607-446330C00D7A}"/>
    <dgm:cxn modelId="{A57F79FE-EB51-4284-8176-4FF4B545C9BA}" srcId="{56745397-2B7B-4A46-835E-07063652C054}" destId="{67F4DA7A-5E13-4DA1-83D7-611B15FBCBE5}" srcOrd="5" destOrd="0" parTransId="{1DE835EC-DFB8-4474-9AE3-9D8211BD0F4F}" sibTransId="{CF07D2C7-BC60-42A1-A215-505C76674ADB}"/>
    <dgm:cxn modelId="{22BB84FF-265A-49A9-9A91-CBCCDCD3E4A9}" srcId="{BAB0EDB8-C5C1-402D-B53A-1115C2C3D6C0}" destId="{0017CBDE-20AF-4F36-A753-11816C362992}" srcOrd="0" destOrd="0" parTransId="{A052F15F-87BA-4299-9042-3D2FFC72355E}" sibTransId="{DA8B5CFE-9D97-4D6F-A148-D66894933FB6}"/>
    <dgm:cxn modelId="{99623361-5535-46CE-B3FE-6CAF89601487}" type="presParOf" srcId="{9EBD34C2-8CA0-4D6F-8E20-7991CF4ED5AB}" destId="{B468FCB1-217F-4073-B39F-26F2E23C62C2}" srcOrd="0" destOrd="0" presId="urn:microsoft.com/office/officeart/2005/8/layout/lProcess1"/>
    <dgm:cxn modelId="{14367F3E-26A3-4CEA-B1AC-E56A2151EB81}" type="presParOf" srcId="{B468FCB1-217F-4073-B39F-26F2E23C62C2}" destId="{84E08169-87ED-4150-A7BB-50AD800CB331}" srcOrd="0" destOrd="0" presId="urn:microsoft.com/office/officeart/2005/8/layout/lProcess1"/>
    <dgm:cxn modelId="{1AC60E15-0BE2-47A0-852E-A6AD77B7F152}" type="presParOf" srcId="{B468FCB1-217F-4073-B39F-26F2E23C62C2}" destId="{62D399F5-0466-4209-A402-A49524C2F381}" srcOrd="1" destOrd="0" presId="urn:microsoft.com/office/officeart/2005/8/layout/lProcess1"/>
    <dgm:cxn modelId="{BF79CF9A-A219-476D-A527-C108C258138C}" type="presParOf" srcId="{B468FCB1-217F-4073-B39F-26F2E23C62C2}" destId="{69331816-153D-47E7-984E-946DCDE86A86}" srcOrd="2" destOrd="0" presId="urn:microsoft.com/office/officeart/2005/8/layout/lProcess1"/>
    <dgm:cxn modelId="{F8A9110B-F45D-44DC-BE33-9D10A1EFBD3E}" type="presParOf" srcId="{B468FCB1-217F-4073-B39F-26F2E23C62C2}" destId="{D89F12CB-D340-496A-96CD-4B4A4DDF1DB7}" srcOrd="3" destOrd="0" presId="urn:microsoft.com/office/officeart/2005/8/layout/lProcess1"/>
    <dgm:cxn modelId="{AE56558D-741D-4281-B941-3213BD32ADDF}" type="presParOf" srcId="{B468FCB1-217F-4073-B39F-26F2E23C62C2}" destId="{02E8FC96-3F7B-4F0B-A46E-6DAB84DDAB70}" srcOrd="4" destOrd="0" presId="urn:microsoft.com/office/officeart/2005/8/layout/lProcess1"/>
    <dgm:cxn modelId="{C585A54A-F985-469A-98A0-BFD5CD3E3941}" type="presParOf" srcId="{B468FCB1-217F-4073-B39F-26F2E23C62C2}" destId="{DA3902A2-B265-47FD-BA7A-009ACEE00A6F}" srcOrd="5" destOrd="0" presId="urn:microsoft.com/office/officeart/2005/8/layout/lProcess1"/>
    <dgm:cxn modelId="{2CD83823-747E-4BBA-B336-0C219EA58FBC}" type="presParOf" srcId="{B468FCB1-217F-4073-B39F-26F2E23C62C2}" destId="{7F26398F-FE7A-4C4B-A949-9DA1D18C26FE}" srcOrd="6" destOrd="0" presId="urn:microsoft.com/office/officeart/2005/8/layout/lProcess1"/>
    <dgm:cxn modelId="{35F7170C-93E8-48F2-B758-1FB624AAF6DC}" type="presParOf" srcId="{B468FCB1-217F-4073-B39F-26F2E23C62C2}" destId="{D17DE6ED-C6B4-42F9-9027-F474370FE366}" srcOrd="7" destOrd="0" presId="urn:microsoft.com/office/officeart/2005/8/layout/lProcess1"/>
    <dgm:cxn modelId="{27A804C2-6717-4DCC-8CFA-E20470D7F94F}" type="presParOf" srcId="{B468FCB1-217F-4073-B39F-26F2E23C62C2}" destId="{801DD107-26F6-42FE-876A-4A73A9780DE5}" srcOrd="8" destOrd="0" presId="urn:microsoft.com/office/officeart/2005/8/layout/lProcess1"/>
    <dgm:cxn modelId="{1C1A804F-8F05-407C-A8B8-B095186010EF}" type="presParOf" srcId="{B468FCB1-217F-4073-B39F-26F2E23C62C2}" destId="{FBF0E29F-33F0-4B9E-908E-85D556C05D94}" srcOrd="9" destOrd="0" presId="urn:microsoft.com/office/officeart/2005/8/layout/lProcess1"/>
    <dgm:cxn modelId="{9427C8DF-381B-4E5A-AE50-89BBD6F1BA37}" type="presParOf" srcId="{B468FCB1-217F-4073-B39F-26F2E23C62C2}" destId="{BB7561E6-B340-4CA0-956A-2DD9E63DD34A}" srcOrd="10" destOrd="0" presId="urn:microsoft.com/office/officeart/2005/8/layout/lProcess1"/>
    <dgm:cxn modelId="{0A49028E-F8AF-404C-B463-42A01D60F863}" type="presParOf" srcId="{B468FCB1-217F-4073-B39F-26F2E23C62C2}" destId="{51110EC9-57DC-42B5-B928-A085E0233937}" srcOrd="11" destOrd="0" presId="urn:microsoft.com/office/officeart/2005/8/layout/lProcess1"/>
    <dgm:cxn modelId="{3A32EC98-85E4-42FA-9D46-719099D218DE}" type="presParOf" srcId="{B468FCB1-217F-4073-B39F-26F2E23C62C2}" destId="{932E7172-BFB4-4900-84D4-5EF5E3714EB4}" srcOrd="12" destOrd="0" presId="urn:microsoft.com/office/officeart/2005/8/layout/lProcess1"/>
    <dgm:cxn modelId="{268ACC12-8E29-4CF3-84C4-0DCFB38FAF00}" type="presParOf" srcId="{B468FCB1-217F-4073-B39F-26F2E23C62C2}" destId="{E44D9C3E-3F65-41F9-8443-BB762D6A894A}" srcOrd="13" destOrd="0" presId="urn:microsoft.com/office/officeart/2005/8/layout/lProcess1"/>
    <dgm:cxn modelId="{B80D6745-2B58-4E7A-8E8B-70331C67EE8D}" type="presParOf" srcId="{B468FCB1-217F-4073-B39F-26F2E23C62C2}" destId="{ACC57634-6E9F-46DC-B321-867E1C0E6957}" srcOrd="14" destOrd="0" presId="urn:microsoft.com/office/officeart/2005/8/layout/lProcess1"/>
    <dgm:cxn modelId="{305B2B19-7B34-4E2D-ACF7-3C584A6BD12E}" type="presParOf" srcId="{B468FCB1-217F-4073-B39F-26F2E23C62C2}" destId="{7C77D6BC-5C1B-48CF-9BEB-D016095371C6}" srcOrd="15" destOrd="0" presId="urn:microsoft.com/office/officeart/2005/8/layout/lProcess1"/>
    <dgm:cxn modelId="{50A23E2D-E352-43B8-BBB2-4BCA9C7F8CC1}" type="presParOf" srcId="{B468FCB1-217F-4073-B39F-26F2E23C62C2}" destId="{5C88EC4F-0700-4970-A691-129A3C331A11}" srcOrd="16" destOrd="0" presId="urn:microsoft.com/office/officeart/2005/8/layout/lProcess1"/>
    <dgm:cxn modelId="{93F44E3C-34C4-4589-826F-AC8B40192E7E}" type="presParOf" srcId="{B468FCB1-217F-4073-B39F-26F2E23C62C2}" destId="{2F1506C5-07B1-4EF3-9368-9BA3DCA9A4A5}" srcOrd="17" destOrd="0" presId="urn:microsoft.com/office/officeart/2005/8/layout/lProcess1"/>
    <dgm:cxn modelId="{03DE0889-2BD0-4958-BF8A-C30F09D1FDC9}" type="presParOf" srcId="{B468FCB1-217F-4073-B39F-26F2E23C62C2}" destId="{2DFC1A79-652C-465F-98A5-30B420052E0E}" srcOrd="18" destOrd="0" presId="urn:microsoft.com/office/officeart/2005/8/layout/lProcess1"/>
    <dgm:cxn modelId="{FA96F309-A708-4DA7-803B-BE5E7C9CC169}" type="presParOf" srcId="{9EBD34C2-8CA0-4D6F-8E20-7991CF4ED5AB}" destId="{AFB63224-04B9-437C-8155-AD01C6B358AA}" srcOrd="1" destOrd="0" presId="urn:microsoft.com/office/officeart/2005/8/layout/lProcess1"/>
    <dgm:cxn modelId="{64AFEA8A-02E9-4589-A5F7-FFF374982217}" type="presParOf" srcId="{9EBD34C2-8CA0-4D6F-8E20-7991CF4ED5AB}" destId="{852F7324-4034-40FD-9407-4A3F73549A44}" srcOrd="2" destOrd="0" presId="urn:microsoft.com/office/officeart/2005/8/layout/lProcess1"/>
    <dgm:cxn modelId="{0ED50DC5-840A-4D3E-9141-BF07605607EF}" type="presParOf" srcId="{852F7324-4034-40FD-9407-4A3F73549A44}" destId="{A0AF9900-903F-41AB-96D5-E992F23E12A2}" srcOrd="0" destOrd="0" presId="urn:microsoft.com/office/officeart/2005/8/layout/lProcess1"/>
    <dgm:cxn modelId="{BCE925FB-6916-4B41-8484-E74F84A34363}" type="presParOf" srcId="{852F7324-4034-40FD-9407-4A3F73549A44}" destId="{33F2B346-3B87-4D73-AF92-4FF33AF15CBC}" srcOrd="1" destOrd="0" presId="urn:microsoft.com/office/officeart/2005/8/layout/lProcess1"/>
    <dgm:cxn modelId="{D6589944-CF1D-4124-8B75-0D85C2336398}" type="presParOf" srcId="{852F7324-4034-40FD-9407-4A3F73549A44}" destId="{2B2200FF-18B2-412B-B2CA-ABE0BCFD6D7A}" srcOrd="2" destOrd="0" presId="urn:microsoft.com/office/officeart/2005/8/layout/lProcess1"/>
    <dgm:cxn modelId="{565C310C-1F82-4693-B377-9309188B026E}" type="presParOf" srcId="{852F7324-4034-40FD-9407-4A3F73549A44}" destId="{289B096B-F6EC-4325-9DF5-2FC9A3A1443B}" srcOrd="3" destOrd="0" presId="urn:microsoft.com/office/officeart/2005/8/layout/lProcess1"/>
    <dgm:cxn modelId="{5DE4A6F6-31BF-4F01-BAA1-828D341AE099}" type="presParOf" srcId="{852F7324-4034-40FD-9407-4A3F73549A44}" destId="{B88E2EC1-8B54-44C0-8F8D-D70FA0129640}" srcOrd="4" destOrd="0" presId="urn:microsoft.com/office/officeart/2005/8/layout/lProcess1"/>
    <dgm:cxn modelId="{A6DF8AF7-5083-45C4-9A03-29D6CA37D92B}" type="presParOf" srcId="{852F7324-4034-40FD-9407-4A3F73549A44}" destId="{BA91AEB4-F16C-460B-BEEE-A64A44EE4434}" srcOrd="5" destOrd="0" presId="urn:microsoft.com/office/officeart/2005/8/layout/lProcess1"/>
    <dgm:cxn modelId="{CB0EE0A8-1072-45CE-BADE-1A230036307A}" type="presParOf" srcId="{852F7324-4034-40FD-9407-4A3F73549A44}" destId="{5F71EB54-2069-4459-BDA0-A7BA62777D4C}" srcOrd="6" destOrd="0" presId="urn:microsoft.com/office/officeart/2005/8/layout/lProcess1"/>
    <dgm:cxn modelId="{5B9834AE-7109-4A17-95CF-1C6C3938325F}" type="presParOf" srcId="{9EBD34C2-8CA0-4D6F-8E20-7991CF4ED5AB}" destId="{90F09C42-E79F-4032-9AE7-109DC4A40199}" srcOrd="3" destOrd="0" presId="urn:microsoft.com/office/officeart/2005/8/layout/lProcess1"/>
    <dgm:cxn modelId="{122A8DD1-2DD7-4ED3-B7F2-E2F8E459EE7A}" type="presParOf" srcId="{9EBD34C2-8CA0-4D6F-8E20-7991CF4ED5AB}" destId="{12112E4F-5514-40F3-A82A-EA40EDDE8DD8}" srcOrd="4" destOrd="0" presId="urn:microsoft.com/office/officeart/2005/8/layout/lProcess1"/>
    <dgm:cxn modelId="{C075EB22-C94C-4957-95D9-2ECBA6E41AB9}" type="presParOf" srcId="{12112E4F-5514-40F3-A82A-EA40EDDE8DD8}" destId="{7A7C3A00-02FE-46CE-9EF5-987A3336BE26}" srcOrd="0" destOrd="0" presId="urn:microsoft.com/office/officeart/2005/8/layout/lProcess1"/>
    <dgm:cxn modelId="{47A21530-06E8-4EE9-8D8A-602F183B8962}" type="presParOf" srcId="{12112E4F-5514-40F3-A82A-EA40EDDE8DD8}" destId="{28B6514B-BA3F-463E-A3E5-76A64DFB0865}" srcOrd="1" destOrd="0" presId="urn:microsoft.com/office/officeart/2005/8/layout/lProcess1"/>
    <dgm:cxn modelId="{A4F414DD-91BD-4905-8E69-9C1DB5270CFE}" type="presParOf" srcId="{12112E4F-5514-40F3-A82A-EA40EDDE8DD8}" destId="{BE3BDB29-D5A5-4B26-8F1A-08F78053D03E}" srcOrd="2" destOrd="0" presId="urn:microsoft.com/office/officeart/2005/8/layout/lProcess1"/>
    <dgm:cxn modelId="{5B22720D-74FC-4A97-89D2-059458B659CA}" type="presParOf" srcId="{12112E4F-5514-40F3-A82A-EA40EDDE8DD8}" destId="{43E90049-59B7-4A2E-9415-A1260C371810}" srcOrd="3" destOrd="0" presId="urn:microsoft.com/office/officeart/2005/8/layout/lProcess1"/>
    <dgm:cxn modelId="{A6F99CBF-B93A-4DDA-9B84-90173F4097B2}" type="presParOf" srcId="{12112E4F-5514-40F3-A82A-EA40EDDE8DD8}" destId="{7C5674A5-3FE3-460E-93BB-AE44569D2D05}" srcOrd="4" destOrd="0" presId="urn:microsoft.com/office/officeart/2005/8/layout/lProcess1"/>
    <dgm:cxn modelId="{50786830-A222-4FAB-9D6B-746F21BC727B}" type="presParOf" srcId="{12112E4F-5514-40F3-A82A-EA40EDDE8DD8}" destId="{BC0D717B-8B6A-4102-9BF0-34DB477A28F6}" srcOrd="5" destOrd="0" presId="urn:microsoft.com/office/officeart/2005/8/layout/lProcess1"/>
    <dgm:cxn modelId="{649E6759-0555-41D7-89DD-5F44417EB852}" type="presParOf" srcId="{12112E4F-5514-40F3-A82A-EA40EDDE8DD8}" destId="{29B98760-63CF-45A6-92BB-2C5AE1C126F0}" srcOrd="6" destOrd="0" presId="urn:microsoft.com/office/officeart/2005/8/layout/lProcess1"/>
    <dgm:cxn modelId="{30CB01B0-DC23-4DA4-8B18-4F40BB115FD7}" type="presParOf" srcId="{12112E4F-5514-40F3-A82A-EA40EDDE8DD8}" destId="{BE537EA2-E376-4F65-A5C4-D8121D036D41}" srcOrd="7" destOrd="0" presId="urn:microsoft.com/office/officeart/2005/8/layout/lProcess1"/>
    <dgm:cxn modelId="{FFC0AE68-43CB-4533-BFC5-4D0F52FC1A33}" type="presParOf" srcId="{12112E4F-5514-40F3-A82A-EA40EDDE8DD8}" destId="{89C95007-3A32-4A27-8BD9-14F1E9FCFEF8}" srcOrd="8" destOrd="0" presId="urn:microsoft.com/office/officeart/2005/8/layout/lProcess1"/>
    <dgm:cxn modelId="{EA5D57E0-3D0D-479A-AAF9-8BBCC00459E3}" type="presParOf" srcId="{9EBD34C2-8CA0-4D6F-8E20-7991CF4ED5AB}" destId="{28058B89-1199-4222-993D-430FAA2EC89C}" srcOrd="5" destOrd="0" presId="urn:microsoft.com/office/officeart/2005/8/layout/lProcess1"/>
    <dgm:cxn modelId="{37672D05-68F9-4743-9B32-DDCD0EF8663B}" type="presParOf" srcId="{9EBD34C2-8CA0-4D6F-8E20-7991CF4ED5AB}" destId="{1E020B8F-5DDD-46EC-B32A-BA9329ADB336}" srcOrd="6" destOrd="0" presId="urn:microsoft.com/office/officeart/2005/8/layout/lProcess1"/>
    <dgm:cxn modelId="{C38A9FA3-FF60-4DB0-A8CE-FB5568BF4C13}" type="presParOf" srcId="{1E020B8F-5DDD-46EC-B32A-BA9329ADB336}" destId="{D2B8707F-F7A5-4F22-9D8E-7C850E3F6457}" srcOrd="0" destOrd="0" presId="urn:microsoft.com/office/officeart/2005/8/layout/lProcess1"/>
    <dgm:cxn modelId="{019CCDA7-8497-47D1-93FA-E363DDB80294}" type="presParOf" srcId="{1E020B8F-5DDD-46EC-B32A-BA9329ADB336}" destId="{4F6369DF-D95E-41B3-AAF2-7F91EEBDB9C1}" srcOrd="1" destOrd="0" presId="urn:microsoft.com/office/officeart/2005/8/layout/lProcess1"/>
    <dgm:cxn modelId="{9E4000A7-7F09-4A2C-8D9D-81957D213902}" type="presParOf" srcId="{1E020B8F-5DDD-46EC-B32A-BA9329ADB336}" destId="{3BBB79C8-04EA-4784-8157-E35438E28907}" srcOrd="2" destOrd="0" presId="urn:microsoft.com/office/officeart/2005/8/layout/lProcess1"/>
    <dgm:cxn modelId="{8CF25874-3D3B-4139-82F4-B92966C877C3}" type="presParOf" srcId="{1E020B8F-5DDD-46EC-B32A-BA9329ADB336}" destId="{C2FC76D7-D76E-4E0D-98A6-E4FF6C6E684B}" srcOrd="3" destOrd="0" presId="urn:microsoft.com/office/officeart/2005/8/layout/lProcess1"/>
    <dgm:cxn modelId="{641992A4-32B4-4F2B-9E66-843CC2283D65}" type="presParOf" srcId="{1E020B8F-5DDD-46EC-B32A-BA9329ADB336}" destId="{CE0D7F2A-22C7-4885-A910-A599F0335DF3}" srcOrd="4" destOrd="0" presId="urn:microsoft.com/office/officeart/2005/8/layout/lProcess1"/>
    <dgm:cxn modelId="{744762DB-35BF-4C87-943B-809EE1839E62}" type="presParOf" srcId="{1E020B8F-5DDD-46EC-B32A-BA9329ADB336}" destId="{5E492888-F11C-422D-BCBB-FC9700A7641F}" srcOrd="5" destOrd="0" presId="urn:microsoft.com/office/officeart/2005/8/layout/lProcess1"/>
    <dgm:cxn modelId="{10505B04-1A03-42B0-9B79-1E19FFE47B13}" type="presParOf" srcId="{1E020B8F-5DDD-46EC-B32A-BA9329ADB336}" destId="{007B3220-C38D-4B26-A5AF-F8AC81467DDF}" srcOrd="6" destOrd="0" presId="urn:microsoft.com/office/officeart/2005/8/layout/lProcess1"/>
    <dgm:cxn modelId="{453D8992-0564-4FBA-8F32-F142FF35BD28}" type="presParOf" srcId="{1E020B8F-5DDD-46EC-B32A-BA9329ADB336}" destId="{7797D667-15FE-4CD5-AD16-B324867AF4A1}" srcOrd="7" destOrd="0" presId="urn:microsoft.com/office/officeart/2005/8/layout/lProcess1"/>
    <dgm:cxn modelId="{286CCEF0-6F99-4689-8F9A-9FE9A9C14BD7}" type="presParOf" srcId="{1E020B8F-5DDD-46EC-B32A-BA9329ADB336}" destId="{21F52B8A-7466-4F59-80FA-25DB8C8D9CB9}" srcOrd="8" destOrd="0" presId="urn:microsoft.com/office/officeart/2005/8/layout/lProcess1"/>
    <dgm:cxn modelId="{5469720D-9861-466E-B601-2A5C4837A535}" type="presParOf" srcId="{1E020B8F-5DDD-46EC-B32A-BA9329ADB336}" destId="{92023422-9181-4A5E-85EB-EBD5D8E8E69B}" srcOrd="9" destOrd="0" presId="urn:microsoft.com/office/officeart/2005/8/layout/lProcess1"/>
    <dgm:cxn modelId="{6DF1D063-ED65-4556-9BED-2D5B4F9CE7BF}" type="presParOf" srcId="{1E020B8F-5DDD-46EC-B32A-BA9329ADB336}" destId="{00DB150D-F33C-4C54-A074-6D6F3D37E894}" srcOrd="10" destOrd="0" presId="urn:microsoft.com/office/officeart/2005/8/layout/lProcess1"/>
    <dgm:cxn modelId="{986EA59B-BFD0-44DD-9FCA-4CFE6C935998}" type="presParOf" srcId="{1E020B8F-5DDD-46EC-B32A-BA9329ADB336}" destId="{B06B6D9B-6802-4F30-9326-34A8D07D2351}" srcOrd="11" destOrd="0" presId="urn:microsoft.com/office/officeart/2005/8/layout/lProcess1"/>
    <dgm:cxn modelId="{BF2B489C-55D1-4CCD-80CC-0606061A52D3}" type="presParOf" srcId="{1E020B8F-5DDD-46EC-B32A-BA9329ADB336}" destId="{D3989FB8-3DF4-4760-8BD3-EDBEAA54C8E0}" srcOrd="12" destOrd="0" presId="urn:microsoft.com/office/officeart/2005/8/layout/lProcess1"/>
    <dgm:cxn modelId="{71F41C9E-6104-451B-9A07-491C7BF648C8}" type="presParOf" srcId="{1E020B8F-5DDD-46EC-B32A-BA9329ADB336}" destId="{DF4E2B2E-3BFA-4043-AC21-114A47BB2945}" srcOrd="13" destOrd="0" presId="urn:microsoft.com/office/officeart/2005/8/layout/lProcess1"/>
    <dgm:cxn modelId="{F48432E1-E5DF-43D9-AA1C-1B6C0A9D50AC}" type="presParOf" srcId="{1E020B8F-5DDD-46EC-B32A-BA9329ADB336}" destId="{FD668B7E-87D6-4FC3-B785-77015E5F2DBD}" srcOrd="14" destOrd="0" presId="urn:microsoft.com/office/officeart/2005/8/layout/lProcess1"/>
    <dgm:cxn modelId="{081E3A2D-1FFD-4C00-AAD8-28F9269CB055}" type="presParOf" srcId="{9EBD34C2-8CA0-4D6F-8E20-7991CF4ED5AB}" destId="{E931EDF9-2DFD-4080-B69A-8B4714DA52AD}" srcOrd="7" destOrd="0" presId="urn:microsoft.com/office/officeart/2005/8/layout/lProcess1"/>
    <dgm:cxn modelId="{7357AA09-A516-4EB1-8818-BF8073E4844B}" type="presParOf" srcId="{9EBD34C2-8CA0-4D6F-8E20-7991CF4ED5AB}" destId="{CB728041-77FF-497B-A5DA-CF25347CF9DD}" srcOrd="8" destOrd="0" presId="urn:microsoft.com/office/officeart/2005/8/layout/lProcess1"/>
    <dgm:cxn modelId="{8BD26F09-7026-4CB9-9721-17E28A73C73D}" type="presParOf" srcId="{CB728041-77FF-497B-A5DA-CF25347CF9DD}" destId="{DBC3DA7E-5B64-4174-8EB9-C1C4D240E28F}" srcOrd="0" destOrd="0" presId="urn:microsoft.com/office/officeart/2005/8/layout/lProcess1"/>
    <dgm:cxn modelId="{252E94D7-4239-41BF-B75B-7F47C4E7940A}" type="presParOf" srcId="{CB728041-77FF-497B-A5DA-CF25347CF9DD}" destId="{8E6FA1AE-5581-41A2-A807-12E3D4DC05B2}" srcOrd="1" destOrd="0" presId="urn:microsoft.com/office/officeart/2005/8/layout/lProcess1"/>
    <dgm:cxn modelId="{A980556D-3A75-491C-8BD2-94293195BAAA}" type="presParOf" srcId="{CB728041-77FF-497B-A5DA-CF25347CF9DD}" destId="{82750196-9690-40BA-BC74-0307C361B467}" srcOrd="2" destOrd="0" presId="urn:microsoft.com/office/officeart/2005/8/layout/lProcess1"/>
    <dgm:cxn modelId="{CC4515F3-94FE-4F2D-8B40-88C922BFC592}" type="presParOf" srcId="{CB728041-77FF-497B-A5DA-CF25347CF9DD}" destId="{691D3FAF-20C1-4E68-934E-737812CE660A}" srcOrd="3" destOrd="0" presId="urn:microsoft.com/office/officeart/2005/8/layout/lProcess1"/>
    <dgm:cxn modelId="{14CF99D7-6E81-4981-BFC3-030CBB0FF109}" type="presParOf" srcId="{CB728041-77FF-497B-A5DA-CF25347CF9DD}" destId="{9896EF39-3810-41BD-883C-713B1D0369D6}" srcOrd="4" destOrd="0" presId="urn:microsoft.com/office/officeart/2005/8/layout/lProcess1"/>
    <dgm:cxn modelId="{C5D77472-9D48-4B9D-AB58-5CBCD6685C99}" type="presParOf" srcId="{CB728041-77FF-497B-A5DA-CF25347CF9DD}" destId="{E5B5C7EF-7C36-40C1-98A4-7315C5929A98}" srcOrd="5" destOrd="0" presId="urn:microsoft.com/office/officeart/2005/8/layout/lProcess1"/>
    <dgm:cxn modelId="{59769FD1-7FD4-4F87-9CA0-D5C0A53680DB}" type="presParOf" srcId="{CB728041-77FF-497B-A5DA-CF25347CF9DD}" destId="{1EDFA90B-ACD4-49C0-BFB8-203D583518DC}" srcOrd="6" destOrd="0" presId="urn:microsoft.com/office/officeart/2005/8/layout/lProcess1"/>
    <dgm:cxn modelId="{1891F8AA-7005-45BB-A748-A4424EBC2AA1}" type="presParOf" srcId="{CB728041-77FF-497B-A5DA-CF25347CF9DD}" destId="{F0AA92C9-E204-49C9-B08E-DC632976E33E}" srcOrd="7" destOrd="0" presId="urn:microsoft.com/office/officeart/2005/8/layout/lProcess1"/>
    <dgm:cxn modelId="{280C1F52-60CF-46DA-8E03-E8F2EE41B305}" type="presParOf" srcId="{CB728041-77FF-497B-A5DA-CF25347CF9DD}" destId="{AFD8E7F0-E6B0-4A59-AAA0-1E218C5CAF30}" srcOrd="8" destOrd="0" presId="urn:microsoft.com/office/officeart/2005/8/layout/lProcess1"/>
    <dgm:cxn modelId="{A1DBB891-BA24-453C-8107-4943DEA54C32}" type="presParOf" srcId="{9EBD34C2-8CA0-4D6F-8E20-7991CF4ED5AB}" destId="{531305EA-5007-4B1E-94A9-8A03BC41E27C}" srcOrd="9" destOrd="0" presId="urn:microsoft.com/office/officeart/2005/8/layout/lProcess1"/>
    <dgm:cxn modelId="{0AFC76BF-E9AD-47D1-A753-18DD10D6B208}" type="presParOf" srcId="{9EBD34C2-8CA0-4D6F-8E20-7991CF4ED5AB}" destId="{E113B300-4B4D-42C1-A1BC-3FB3E30FFE50}" srcOrd="10" destOrd="0" presId="urn:microsoft.com/office/officeart/2005/8/layout/lProcess1"/>
    <dgm:cxn modelId="{A9BE396A-4D8A-457B-8877-67D9E794588E}" type="presParOf" srcId="{E113B300-4B4D-42C1-A1BC-3FB3E30FFE50}" destId="{3338D3DD-9342-435F-B608-B057E506EDA5}" srcOrd="0" destOrd="0" presId="urn:microsoft.com/office/officeart/2005/8/layout/lProcess1"/>
    <dgm:cxn modelId="{D42D707F-C426-4529-B6AB-3ACD1DA2A446}" type="presParOf" srcId="{E113B300-4B4D-42C1-A1BC-3FB3E30FFE50}" destId="{952AA319-092C-41B2-9CDB-A71F38AFFCB4}" srcOrd="1" destOrd="0" presId="urn:microsoft.com/office/officeart/2005/8/layout/lProcess1"/>
    <dgm:cxn modelId="{5694B8D2-E79A-4B8A-9E29-021D803ABCFE}" type="presParOf" srcId="{E113B300-4B4D-42C1-A1BC-3FB3E30FFE50}" destId="{A73DEE85-171C-4FB9-9C34-DD2A4EE570CD}" srcOrd="2" destOrd="0" presId="urn:microsoft.com/office/officeart/2005/8/layout/lProcess1"/>
    <dgm:cxn modelId="{3405776C-716B-4CCF-B25D-31E6DE83911C}" type="presParOf" srcId="{E113B300-4B4D-42C1-A1BC-3FB3E30FFE50}" destId="{9F4AB28A-7655-4EAD-A441-30FAE06CD8CA}" srcOrd="3" destOrd="0" presId="urn:microsoft.com/office/officeart/2005/8/layout/lProcess1"/>
    <dgm:cxn modelId="{013341AD-ED25-46FF-BD3B-BDC8595AD6C4}" type="presParOf" srcId="{E113B300-4B4D-42C1-A1BC-3FB3E30FFE50}" destId="{4B3D9373-A5B8-4825-9080-17A6F2E07016}" srcOrd="4" destOrd="0" presId="urn:microsoft.com/office/officeart/2005/8/layout/lProcess1"/>
    <dgm:cxn modelId="{4B667F0E-DF1F-46DB-9C7E-0699015CEBF3}" type="presParOf" srcId="{E113B300-4B4D-42C1-A1BC-3FB3E30FFE50}" destId="{3E0FC774-AF56-4A52-97C2-D0B73F52DBC1}" srcOrd="5" destOrd="0" presId="urn:microsoft.com/office/officeart/2005/8/layout/lProcess1"/>
    <dgm:cxn modelId="{5582DDBB-3C97-4951-AC8D-9BED9E274769}" type="presParOf" srcId="{E113B300-4B4D-42C1-A1BC-3FB3E30FFE50}" destId="{6F510C69-8A41-4C7B-A1B3-98ACA4C30A40}" srcOrd="6" destOrd="0" presId="urn:microsoft.com/office/officeart/2005/8/layout/l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792C698-01CA-472E-950D-51F9591D5967}"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sl-SI"/>
        </a:p>
      </dgm:t>
    </dgm:pt>
    <dgm:pt modelId="{27857F77-63A9-4850-836D-05192F21E2FC}">
      <dgm:prSet phldrT="[Text]"/>
      <dgm:spPr/>
      <dgm:t>
        <a:bodyPr/>
        <a:lstStyle/>
        <a:p>
          <a:r>
            <a:rPr lang="sl-SI" b="1" dirty="0"/>
            <a:t>Zeleni namen</a:t>
          </a:r>
        </a:p>
      </dgm:t>
    </dgm:pt>
    <dgm:pt modelId="{868AEC0D-C4AC-4FFC-A8F1-5C7165C9E45A}" type="parTrans" cxnId="{56271E26-4161-4A74-ADEC-742E1C2F3C15}">
      <dgm:prSet/>
      <dgm:spPr/>
      <dgm:t>
        <a:bodyPr/>
        <a:lstStyle/>
        <a:p>
          <a:endParaRPr lang="sl-SI"/>
        </a:p>
      </dgm:t>
    </dgm:pt>
    <dgm:pt modelId="{CC1F4474-560B-4F94-BEA1-BAF367F9421C}" type="sibTrans" cxnId="{56271E26-4161-4A74-ADEC-742E1C2F3C15}">
      <dgm:prSet/>
      <dgm:spPr/>
      <dgm:t>
        <a:bodyPr/>
        <a:lstStyle/>
        <a:p>
          <a:endParaRPr lang="sl-SI"/>
        </a:p>
      </dgm:t>
    </dgm:pt>
    <dgm:pt modelId="{CCA53E91-27AF-409F-A621-317A88E604F5}">
      <dgm:prSet phldrT="[Text]" custT="1"/>
      <dgm:spPr/>
      <dgm:t>
        <a:bodyPr/>
        <a:lstStyle/>
        <a:p>
          <a:r>
            <a:rPr lang="sl-SI" sz="1050"/>
            <a:t>Obnovljivi viri energije </a:t>
          </a:r>
          <a:endParaRPr lang="sl-SI" sz="1050" b="0"/>
        </a:p>
      </dgm:t>
    </dgm:pt>
    <dgm:pt modelId="{6A74735F-E6DD-4740-A68E-F8DA181B1F68}" type="parTrans" cxnId="{47EB85EF-E35A-4B11-B517-0802E1D5A166}">
      <dgm:prSet/>
      <dgm:spPr/>
      <dgm:t>
        <a:bodyPr/>
        <a:lstStyle/>
        <a:p>
          <a:endParaRPr lang="sl-SI"/>
        </a:p>
      </dgm:t>
    </dgm:pt>
    <dgm:pt modelId="{3D78DD48-B2B6-477D-B79F-7D701C1DA5A7}" type="sibTrans" cxnId="{47EB85EF-E35A-4B11-B517-0802E1D5A166}">
      <dgm:prSet/>
      <dgm:spPr/>
      <dgm:t>
        <a:bodyPr/>
        <a:lstStyle/>
        <a:p>
          <a:endParaRPr lang="sl-SI"/>
        </a:p>
      </dgm:t>
    </dgm:pt>
    <dgm:pt modelId="{80086800-98CE-400F-9DAD-BB3D85E251B0}">
      <dgm:prSet phldrT="[Text]"/>
      <dgm:spPr/>
      <dgm:t>
        <a:bodyPr/>
        <a:lstStyle/>
        <a:p>
          <a:r>
            <a:rPr lang="sl-SI" b="1"/>
            <a:t>Zelena vrsta investicije</a:t>
          </a:r>
          <a:endParaRPr lang="sl-SI"/>
        </a:p>
      </dgm:t>
    </dgm:pt>
    <dgm:pt modelId="{BE4EB824-0BED-4E87-88CE-B22ACDB96463}" type="parTrans" cxnId="{E3F6F369-9814-40E1-B56F-D54E048368E8}">
      <dgm:prSet/>
      <dgm:spPr/>
      <dgm:t>
        <a:bodyPr/>
        <a:lstStyle/>
        <a:p>
          <a:endParaRPr lang="sl-SI"/>
        </a:p>
      </dgm:t>
    </dgm:pt>
    <dgm:pt modelId="{9AD784D5-BEC4-41CD-8E01-75E0FCA5A823}" type="sibTrans" cxnId="{E3F6F369-9814-40E1-B56F-D54E048368E8}">
      <dgm:prSet/>
      <dgm:spPr/>
      <dgm:t>
        <a:bodyPr/>
        <a:lstStyle/>
        <a:p>
          <a:endParaRPr lang="sl-SI"/>
        </a:p>
      </dgm:t>
    </dgm:pt>
    <dgm:pt modelId="{2B5F5839-2386-40C9-B265-B4E75404B35F}">
      <dgm:prSet phldrT="[Text]" custT="1"/>
      <dgm:spPr/>
      <dgm:t>
        <a:bodyPr/>
        <a:lstStyle/>
        <a:p>
          <a:r>
            <a:rPr lang="sl-SI" sz="1000" dirty="0"/>
            <a:t>Sončna elektrarna (.številka aktivnosti iz EU Taksonomije) </a:t>
          </a:r>
        </a:p>
      </dgm:t>
    </dgm:pt>
    <dgm:pt modelId="{9FF377D0-12B1-40A8-97E9-CD19101AFD64}" type="parTrans" cxnId="{C420358F-302F-468F-B8C3-9FC8838948D9}">
      <dgm:prSet/>
      <dgm:spPr/>
      <dgm:t>
        <a:bodyPr/>
        <a:lstStyle/>
        <a:p>
          <a:endParaRPr lang="sl-SI"/>
        </a:p>
      </dgm:t>
    </dgm:pt>
    <dgm:pt modelId="{B4A3F896-D794-422F-8C4A-F6FD9AC1CC11}" type="sibTrans" cxnId="{C420358F-302F-468F-B8C3-9FC8838948D9}">
      <dgm:prSet/>
      <dgm:spPr/>
      <dgm:t>
        <a:bodyPr/>
        <a:lstStyle/>
        <a:p>
          <a:endParaRPr lang="sl-SI"/>
        </a:p>
      </dgm:t>
    </dgm:pt>
    <dgm:pt modelId="{683703F4-3B56-431B-BC9C-0A04BA475C05}">
      <dgm:prSet phldrT="[Text]"/>
      <dgm:spPr/>
      <dgm:t>
        <a:bodyPr/>
        <a:lstStyle/>
        <a:p>
          <a:r>
            <a:rPr lang="sl-SI" b="1"/>
            <a:t>Opis</a:t>
          </a:r>
          <a:endParaRPr lang="sl-SI"/>
        </a:p>
      </dgm:t>
    </dgm:pt>
    <dgm:pt modelId="{0B131B55-8057-4A17-A179-A9E100684F20}" type="parTrans" cxnId="{78DF78A2-AF32-48FC-8F28-860016937258}">
      <dgm:prSet/>
      <dgm:spPr/>
      <dgm:t>
        <a:bodyPr/>
        <a:lstStyle/>
        <a:p>
          <a:endParaRPr lang="sl-SI"/>
        </a:p>
      </dgm:t>
    </dgm:pt>
    <dgm:pt modelId="{D78DCC03-91A7-48E6-9CA2-0EC9A320FB70}" type="sibTrans" cxnId="{78DF78A2-AF32-48FC-8F28-860016937258}">
      <dgm:prSet/>
      <dgm:spPr/>
      <dgm:t>
        <a:bodyPr/>
        <a:lstStyle/>
        <a:p>
          <a:endParaRPr lang="sl-SI"/>
        </a:p>
      </dgm:t>
    </dgm:pt>
    <dgm:pt modelId="{BB8C102C-105D-4BBA-B043-24C194BCF390}">
      <dgm:prSet phldrT="[Text]" custT="1"/>
      <dgm:spPr/>
      <dgm:t>
        <a:bodyPr/>
        <a:lstStyle/>
        <a:p>
          <a:r>
            <a:rPr lang="sl-SI" sz="1000"/>
            <a:t>Nakup in montaža sončne elektrarne</a:t>
          </a:r>
        </a:p>
      </dgm:t>
    </dgm:pt>
    <dgm:pt modelId="{2F29F0AE-9F30-496E-B9F2-9E64C3203AFF}" type="parTrans" cxnId="{82C01C43-2173-4FD4-AAF0-4968ADCD4CF9}">
      <dgm:prSet/>
      <dgm:spPr/>
      <dgm:t>
        <a:bodyPr/>
        <a:lstStyle/>
        <a:p>
          <a:endParaRPr lang="sl-SI"/>
        </a:p>
      </dgm:t>
    </dgm:pt>
    <dgm:pt modelId="{0F05E1BF-132D-4077-9857-82A19CAA371F}" type="sibTrans" cxnId="{82C01C43-2173-4FD4-AAF0-4968ADCD4CF9}">
      <dgm:prSet/>
      <dgm:spPr/>
      <dgm:t>
        <a:bodyPr/>
        <a:lstStyle/>
        <a:p>
          <a:endParaRPr lang="sl-SI"/>
        </a:p>
      </dgm:t>
    </dgm:pt>
    <dgm:pt modelId="{C3BAE8DF-FE77-4711-ABDE-F2115DCA05CE}">
      <dgm:prSet/>
      <dgm:spPr/>
      <dgm:t>
        <a:bodyPr/>
        <a:lstStyle/>
        <a:p>
          <a:r>
            <a:rPr lang="sl-SI" b="1"/>
            <a:t>Podatki v dokumentaciji: </a:t>
          </a:r>
          <a:endParaRPr lang="sl-SI"/>
        </a:p>
      </dgm:t>
    </dgm:pt>
    <dgm:pt modelId="{A9AF79C2-1544-4197-9C1A-74BEC79528DC}" type="parTrans" cxnId="{C722FA71-9ABF-4E78-BA98-CDAC54B75584}">
      <dgm:prSet/>
      <dgm:spPr/>
      <dgm:t>
        <a:bodyPr/>
        <a:lstStyle/>
        <a:p>
          <a:endParaRPr lang="sl-SI"/>
        </a:p>
      </dgm:t>
    </dgm:pt>
    <dgm:pt modelId="{E3242202-1C5A-4A7F-BABA-0EEDC9B0C870}" type="sibTrans" cxnId="{C722FA71-9ABF-4E78-BA98-CDAC54B75584}">
      <dgm:prSet/>
      <dgm:spPr/>
      <dgm:t>
        <a:bodyPr/>
        <a:lstStyle/>
        <a:p>
          <a:endParaRPr lang="sl-SI"/>
        </a:p>
      </dgm:t>
    </dgm:pt>
    <dgm:pt modelId="{3E9A8CAB-2307-4A71-A17E-446BA406DB8C}">
      <dgm:prSet custT="1"/>
      <dgm:spPr/>
      <dgm:t>
        <a:bodyPr/>
        <a:lstStyle/>
        <a:p>
          <a:r>
            <a:rPr lang="sl-SI" sz="900"/>
            <a:t>soglasje za priključitev in (pred)račun za sončno elektrarno</a:t>
          </a:r>
        </a:p>
      </dgm:t>
    </dgm:pt>
    <dgm:pt modelId="{F7FBBD54-01B4-4420-A346-072C8974EFC0}" type="parTrans" cxnId="{FBCF4727-2998-4D1E-A7B6-8B4CB3E71886}">
      <dgm:prSet/>
      <dgm:spPr/>
      <dgm:t>
        <a:bodyPr/>
        <a:lstStyle/>
        <a:p>
          <a:endParaRPr lang="sl-SI"/>
        </a:p>
      </dgm:t>
    </dgm:pt>
    <dgm:pt modelId="{A172D863-5D3A-4594-B551-23FBC3BFD764}" type="sibTrans" cxnId="{FBCF4727-2998-4D1E-A7B6-8B4CB3E71886}">
      <dgm:prSet/>
      <dgm:spPr/>
      <dgm:t>
        <a:bodyPr/>
        <a:lstStyle/>
        <a:p>
          <a:endParaRPr lang="sl-SI"/>
        </a:p>
      </dgm:t>
    </dgm:pt>
    <dgm:pt modelId="{2DB8F66F-D76E-4F13-95E6-034A75110F83}">
      <dgm:prSet/>
      <dgm:spPr/>
      <dgm:t>
        <a:bodyPr/>
        <a:lstStyle/>
        <a:p>
          <a:r>
            <a:rPr lang="en-US" b="1"/>
            <a:t>Ocenjeni vplivi (izračunani na podlagi greenchecker.eib.org):</a:t>
          </a:r>
          <a:endParaRPr lang="sl-SI"/>
        </a:p>
      </dgm:t>
    </dgm:pt>
    <dgm:pt modelId="{DCB103DB-F0CC-4002-9A1B-DC2DE2AD12C4}" type="parTrans" cxnId="{16D348B5-4175-4D30-856F-0E39BACB4345}">
      <dgm:prSet/>
      <dgm:spPr/>
      <dgm:t>
        <a:bodyPr/>
        <a:lstStyle/>
        <a:p>
          <a:endParaRPr lang="sl-SI"/>
        </a:p>
      </dgm:t>
    </dgm:pt>
    <dgm:pt modelId="{F5C69EC1-A223-4DAD-84DB-6BF45B0AA06E}" type="sibTrans" cxnId="{16D348B5-4175-4D30-856F-0E39BACB4345}">
      <dgm:prSet/>
      <dgm:spPr/>
      <dgm:t>
        <a:bodyPr/>
        <a:lstStyle/>
        <a:p>
          <a:endParaRPr lang="sl-SI"/>
        </a:p>
      </dgm:t>
    </dgm:pt>
    <dgm:pt modelId="{88B56C4E-4064-4A6A-90D6-E81BB0A5E280}">
      <dgm:prSet custT="1"/>
      <dgm:spPr/>
      <dgm:t>
        <a:bodyPr/>
        <a:lstStyle/>
        <a:p>
          <a:pPr>
            <a:buFont typeface="Arial" panose="020B0604020202020204" pitchFamily="34" charset="0"/>
            <a:buChar char="-"/>
          </a:pPr>
          <a:r>
            <a:rPr lang="sl-SI" sz="1000"/>
            <a:t>predvidena letna proizvodnja v MWh: </a:t>
          </a:r>
        </a:p>
      </dgm:t>
    </dgm:pt>
    <dgm:pt modelId="{2451FD04-E14C-4E5E-9882-3983A63BB78B}" type="sibTrans" cxnId="{D7F48F6C-E9FD-4CAA-902A-256A69807E0B}">
      <dgm:prSet/>
      <dgm:spPr/>
      <dgm:t>
        <a:bodyPr/>
        <a:lstStyle/>
        <a:p>
          <a:endParaRPr lang="sl-SI"/>
        </a:p>
      </dgm:t>
    </dgm:pt>
    <dgm:pt modelId="{E7BD68A4-2E5E-47D7-B707-165A2951ED5B}" type="parTrans" cxnId="{D7F48F6C-E9FD-4CAA-902A-256A69807E0B}">
      <dgm:prSet/>
      <dgm:spPr/>
      <dgm:t>
        <a:bodyPr/>
        <a:lstStyle/>
        <a:p>
          <a:endParaRPr lang="sl-SI"/>
        </a:p>
      </dgm:t>
    </dgm:pt>
    <dgm:pt modelId="{B0936A92-93BB-4521-97B5-23BC1C7861DC}">
      <dgm:prSet custT="1"/>
      <dgm:spPr/>
      <dgm:t>
        <a:bodyPr/>
        <a:lstStyle/>
        <a:p>
          <a:r>
            <a:rPr lang="sl-SI" sz="900"/>
            <a:t>kapaciteta elektrarne v MW</a:t>
          </a:r>
        </a:p>
      </dgm:t>
    </dgm:pt>
    <dgm:pt modelId="{D17B21E2-3E31-42FF-950B-71A60383153B}" type="parTrans" cxnId="{7C44E972-D516-4E99-BC88-B2185931E7FF}">
      <dgm:prSet/>
      <dgm:spPr/>
      <dgm:t>
        <a:bodyPr/>
        <a:lstStyle/>
        <a:p>
          <a:endParaRPr lang="sl-SI"/>
        </a:p>
      </dgm:t>
    </dgm:pt>
    <dgm:pt modelId="{EDAA915C-5837-47D4-97DA-FDB312B604EE}" type="sibTrans" cxnId="{7C44E972-D516-4E99-BC88-B2185931E7FF}">
      <dgm:prSet/>
      <dgm:spPr/>
      <dgm:t>
        <a:bodyPr/>
        <a:lstStyle/>
        <a:p>
          <a:endParaRPr lang="sl-SI"/>
        </a:p>
      </dgm:t>
    </dgm:pt>
    <dgm:pt modelId="{D5A33C72-26BF-43BF-BADC-07866FAA2D76}">
      <dgm:prSet custT="1"/>
      <dgm:spPr/>
      <dgm:t>
        <a:bodyPr/>
        <a:lstStyle/>
        <a:p>
          <a:pPr>
            <a:buFont typeface="Arial" panose="020B0604020202020204" pitchFamily="34" charset="0"/>
            <a:buChar char="-"/>
          </a:pPr>
          <a:r>
            <a:rPr lang="sl-SI" sz="1000"/>
            <a:t>preprečene letne emisije toplogrednih plinov (v tonah ekvivalenta CO2)</a:t>
          </a:r>
        </a:p>
      </dgm:t>
    </dgm:pt>
    <dgm:pt modelId="{50721CB2-3EF1-48A7-BB7F-22A654A9E60A}" type="parTrans" cxnId="{EF5D1901-8268-45CA-A61E-EFEE8CEA48AF}">
      <dgm:prSet/>
      <dgm:spPr/>
      <dgm:t>
        <a:bodyPr/>
        <a:lstStyle/>
        <a:p>
          <a:endParaRPr lang="sl-SI"/>
        </a:p>
      </dgm:t>
    </dgm:pt>
    <dgm:pt modelId="{5A9C64FE-BCAA-47CB-A158-FBFD588BE39A}" type="sibTrans" cxnId="{EF5D1901-8268-45CA-A61E-EFEE8CEA48AF}">
      <dgm:prSet/>
      <dgm:spPr/>
      <dgm:t>
        <a:bodyPr/>
        <a:lstStyle/>
        <a:p>
          <a:endParaRPr lang="sl-SI"/>
        </a:p>
      </dgm:t>
    </dgm:pt>
    <dgm:pt modelId="{FD586EF2-A5AD-4B27-ACE5-BDAB06E3C3F8}">
      <dgm:prSet custT="1"/>
      <dgm:spPr/>
      <dgm:t>
        <a:bodyPr/>
        <a:lstStyle/>
        <a:p>
          <a:pPr>
            <a:buFont typeface="Arial" panose="020B0604020202020204" pitchFamily="34" charset="0"/>
            <a:buChar char="-"/>
          </a:pPr>
          <a:r>
            <a:rPr lang="sl-SI" sz="1000"/>
            <a:t>Ocena prihranka stroškov: </a:t>
          </a:r>
        </a:p>
      </dgm:t>
    </dgm:pt>
    <dgm:pt modelId="{BAC14612-FD30-4B8B-9B66-EE3EF92D2721}" type="parTrans" cxnId="{3A3FDC3E-4929-4D35-BBC2-09DE57B9A5B5}">
      <dgm:prSet/>
      <dgm:spPr/>
      <dgm:t>
        <a:bodyPr/>
        <a:lstStyle/>
        <a:p>
          <a:endParaRPr lang="sl-SI"/>
        </a:p>
      </dgm:t>
    </dgm:pt>
    <dgm:pt modelId="{FFD991DD-B27D-4919-BF9E-AA5A42C66B77}" type="sibTrans" cxnId="{3A3FDC3E-4929-4D35-BBC2-09DE57B9A5B5}">
      <dgm:prSet/>
      <dgm:spPr/>
      <dgm:t>
        <a:bodyPr/>
        <a:lstStyle/>
        <a:p>
          <a:endParaRPr lang="sl-SI"/>
        </a:p>
      </dgm:t>
    </dgm:pt>
    <dgm:pt modelId="{516E98BD-88BA-44FB-AD65-30172D515EA7}">
      <dgm:prSet/>
      <dgm:spPr/>
      <dgm:t>
        <a:bodyPr/>
        <a:lstStyle/>
        <a:p>
          <a:r>
            <a:rPr lang="sl-SI" b="1" dirty="0"/>
            <a:t>Višina investicije</a:t>
          </a:r>
        </a:p>
      </dgm:t>
    </dgm:pt>
    <dgm:pt modelId="{C0C23C1E-2666-4167-BACD-65765FAEB349}" type="parTrans" cxnId="{3E580AE0-69CD-465B-A823-4C56C5DEAB2F}">
      <dgm:prSet/>
      <dgm:spPr/>
      <dgm:t>
        <a:bodyPr/>
        <a:lstStyle/>
        <a:p>
          <a:endParaRPr lang="sl-SI"/>
        </a:p>
      </dgm:t>
    </dgm:pt>
    <dgm:pt modelId="{22BDC3C9-5704-4166-8455-70CD25AA0F79}" type="sibTrans" cxnId="{3E580AE0-69CD-465B-A823-4C56C5DEAB2F}">
      <dgm:prSet/>
      <dgm:spPr/>
      <dgm:t>
        <a:bodyPr/>
        <a:lstStyle/>
        <a:p>
          <a:endParaRPr lang="sl-SI"/>
        </a:p>
      </dgm:t>
    </dgm:pt>
    <dgm:pt modelId="{0A0FB49E-1859-4D0A-A5A2-5C8EEF18DBB1}">
      <dgm:prSet/>
      <dgm:spPr/>
      <dgm:t>
        <a:bodyPr/>
        <a:lstStyle/>
        <a:p>
          <a:endParaRPr lang="sl-SI"/>
        </a:p>
      </dgm:t>
    </dgm:pt>
    <dgm:pt modelId="{3990A2BB-FFD8-4EBF-AA3A-BF00E0D05515}" type="parTrans" cxnId="{AB05FFA0-E62E-454B-804A-822891A3991F}">
      <dgm:prSet/>
      <dgm:spPr/>
      <dgm:t>
        <a:bodyPr/>
        <a:lstStyle/>
        <a:p>
          <a:endParaRPr lang="sl-SI"/>
        </a:p>
      </dgm:t>
    </dgm:pt>
    <dgm:pt modelId="{0DB3A465-DD50-4653-A102-CC0A197987EA}" type="sibTrans" cxnId="{AB05FFA0-E62E-454B-804A-822891A3991F}">
      <dgm:prSet/>
      <dgm:spPr/>
      <dgm:t>
        <a:bodyPr/>
        <a:lstStyle/>
        <a:p>
          <a:endParaRPr lang="sl-SI"/>
        </a:p>
      </dgm:t>
    </dgm:pt>
    <dgm:pt modelId="{0B5459C0-00CA-4372-89E8-D37D77AFC736}" type="pres">
      <dgm:prSet presAssocID="{0792C698-01CA-472E-950D-51F9591D5967}" presName="Name0" presStyleCnt="0">
        <dgm:presLayoutVars>
          <dgm:dir/>
          <dgm:animLvl val="lvl"/>
          <dgm:resizeHandles val="exact"/>
        </dgm:presLayoutVars>
      </dgm:prSet>
      <dgm:spPr/>
    </dgm:pt>
    <dgm:pt modelId="{68F88E68-E010-49A3-9222-22DB993A7B09}" type="pres">
      <dgm:prSet presAssocID="{27857F77-63A9-4850-836D-05192F21E2FC}" presName="linNode" presStyleCnt="0"/>
      <dgm:spPr/>
    </dgm:pt>
    <dgm:pt modelId="{4F3103D8-F6EA-4113-9D22-F995D226426F}" type="pres">
      <dgm:prSet presAssocID="{27857F77-63A9-4850-836D-05192F21E2FC}" presName="parentText" presStyleLbl="node1" presStyleIdx="0" presStyleCnt="6" custScaleY="20848">
        <dgm:presLayoutVars>
          <dgm:chMax val="1"/>
          <dgm:bulletEnabled val="1"/>
        </dgm:presLayoutVars>
      </dgm:prSet>
      <dgm:spPr/>
    </dgm:pt>
    <dgm:pt modelId="{93CEB5E8-BD49-47C9-8111-C2E5940C21F7}" type="pres">
      <dgm:prSet presAssocID="{27857F77-63A9-4850-836D-05192F21E2FC}" presName="descendantText" presStyleLbl="alignAccFollowNode1" presStyleIdx="0" presStyleCnt="6" custScaleX="153158" custScaleY="26218">
        <dgm:presLayoutVars>
          <dgm:bulletEnabled val="1"/>
        </dgm:presLayoutVars>
      </dgm:prSet>
      <dgm:spPr/>
    </dgm:pt>
    <dgm:pt modelId="{E27939A4-BE3C-48E9-9077-6A07704F58D7}" type="pres">
      <dgm:prSet presAssocID="{CC1F4474-560B-4F94-BEA1-BAF367F9421C}" presName="sp" presStyleCnt="0"/>
      <dgm:spPr/>
    </dgm:pt>
    <dgm:pt modelId="{45B07785-B530-42F4-8063-BF5D12FD3C2D}" type="pres">
      <dgm:prSet presAssocID="{80086800-98CE-400F-9DAD-BB3D85E251B0}" presName="linNode" presStyleCnt="0"/>
      <dgm:spPr/>
    </dgm:pt>
    <dgm:pt modelId="{50DA88A6-A998-4266-815A-5A3D434D37B6}" type="pres">
      <dgm:prSet presAssocID="{80086800-98CE-400F-9DAD-BB3D85E251B0}" presName="parentText" presStyleLbl="node1" presStyleIdx="1" presStyleCnt="6" custScaleY="18618">
        <dgm:presLayoutVars>
          <dgm:chMax val="1"/>
          <dgm:bulletEnabled val="1"/>
        </dgm:presLayoutVars>
      </dgm:prSet>
      <dgm:spPr/>
    </dgm:pt>
    <dgm:pt modelId="{C3AC3067-7AE3-436C-8183-035777957537}" type="pres">
      <dgm:prSet presAssocID="{80086800-98CE-400F-9DAD-BB3D85E251B0}" presName="descendantText" presStyleLbl="alignAccFollowNode1" presStyleIdx="1" presStyleCnt="6" custScaleX="151485" custScaleY="22291" custLinFactNeighborX="-1871">
        <dgm:presLayoutVars>
          <dgm:bulletEnabled val="1"/>
        </dgm:presLayoutVars>
      </dgm:prSet>
      <dgm:spPr/>
    </dgm:pt>
    <dgm:pt modelId="{1B2A10BF-35BB-4C16-BDA0-3E3F540DDE31}" type="pres">
      <dgm:prSet presAssocID="{9AD784D5-BEC4-41CD-8E01-75E0FCA5A823}" presName="sp" presStyleCnt="0"/>
      <dgm:spPr/>
    </dgm:pt>
    <dgm:pt modelId="{75F57F3F-EA45-42CC-A920-29E8700F1C6F}" type="pres">
      <dgm:prSet presAssocID="{683703F4-3B56-431B-BC9C-0A04BA475C05}" presName="linNode" presStyleCnt="0"/>
      <dgm:spPr/>
    </dgm:pt>
    <dgm:pt modelId="{7EBC1530-0B83-44D6-94B9-6E894E41449B}" type="pres">
      <dgm:prSet presAssocID="{683703F4-3B56-431B-BC9C-0A04BA475C05}" presName="parentText" presStyleLbl="node1" presStyleIdx="2" presStyleCnt="6" custScaleY="20758">
        <dgm:presLayoutVars>
          <dgm:chMax val="1"/>
          <dgm:bulletEnabled val="1"/>
        </dgm:presLayoutVars>
      </dgm:prSet>
      <dgm:spPr/>
    </dgm:pt>
    <dgm:pt modelId="{3446EB98-0C2B-4924-A54B-EEBF14A66AFC}" type="pres">
      <dgm:prSet presAssocID="{683703F4-3B56-431B-BC9C-0A04BA475C05}" presName="descendantText" presStyleLbl="alignAccFollowNode1" presStyleIdx="2" presStyleCnt="6" custScaleX="155883" custScaleY="23425">
        <dgm:presLayoutVars>
          <dgm:bulletEnabled val="1"/>
        </dgm:presLayoutVars>
      </dgm:prSet>
      <dgm:spPr/>
    </dgm:pt>
    <dgm:pt modelId="{0C5E0B1E-A131-4738-A4F9-02A7D8F08ECD}" type="pres">
      <dgm:prSet presAssocID="{D78DCC03-91A7-48E6-9CA2-0EC9A320FB70}" presName="sp" presStyleCnt="0"/>
      <dgm:spPr/>
    </dgm:pt>
    <dgm:pt modelId="{7B3EF2E1-7620-41E0-9451-DA5F07F0B26A}" type="pres">
      <dgm:prSet presAssocID="{C3BAE8DF-FE77-4711-ABDE-F2115DCA05CE}" presName="linNode" presStyleCnt="0"/>
      <dgm:spPr/>
    </dgm:pt>
    <dgm:pt modelId="{0C416C2C-D66F-459F-91ED-34CB141140AD}" type="pres">
      <dgm:prSet presAssocID="{C3BAE8DF-FE77-4711-ABDE-F2115DCA05CE}" presName="parentText" presStyleLbl="node1" presStyleIdx="3" presStyleCnt="6" custScaleY="26343">
        <dgm:presLayoutVars>
          <dgm:chMax val="1"/>
          <dgm:bulletEnabled val="1"/>
        </dgm:presLayoutVars>
      </dgm:prSet>
      <dgm:spPr/>
    </dgm:pt>
    <dgm:pt modelId="{55008F07-2E45-492A-95AF-F8A244DA26B8}" type="pres">
      <dgm:prSet presAssocID="{C3BAE8DF-FE77-4711-ABDE-F2115DCA05CE}" presName="descendantText" presStyleLbl="alignAccFollowNode1" presStyleIdx="3" presStyleCnt="6" custScaleX="155248" custScaleY="28271" custLinFactNeighborX="1852" custLinFactNeighborY="0">
        <dgm:presLayoutVars>
          <dgm:bulletEnabled val="1"/>
        </dgm:presLayoutVars>
      </dgm:prSet>
      <dgm:spPr/>
    </dgm:pt>
    <dgm:pt modelId="{F0BE0664-6886-4B62-8D31-E1B3EFAB73C7}" type="pres">
      <dgm:prSet presAssocID="{E3242202-1C5A-4A7F-BABA-0EEDC9B0C870}" presName="sp" presStyleCnt="0"/>
      <dgm:spPr/>
    </dgm:pt>
    <dgm:pt modelId="{4ABA376B-4178-4304-B90D-134D44B5EBE6}" type="pres">
      <dgm:prSet presAssocID="{2DB8F66F-D76E-4F13-95E6-034A75110F83}" presName="linNode" presStyleCnt="0"/>
      <dgm:spPr/>
    </dgm:pt>
    <dgm:pt modelId="{7103CB86-C6FE-4680-937A-D58DDA0FF35E}" type="pres">
      <dgm:prSet presAssocID="{2DB8F66F-D76E-4F13-95E6-034A75110F83}" presName="parentText" presStyleLbl="node1" presStyleIdx="4" presStyleCnt="6" custScaleX="79851" custScaleY="46018">
        <dgm:presLayoutVars>
          <dgm:chMax val="1"/>
          <dgm:bulletEnabled val="1"/>
        </dgm:presLayoutVars>
      </dgm:prSet>
      <dgm:spPr/>
    </dgm:pt>
    <dgm:pt modelId="{22DBC66B-C1E0-43DF-8C92-BA9CE4851B6E}" type="pres">
      <dgm:prSet presAssocID="{2DB8F66F-D76E-4F13-95E6-034A75110F83}" presName="descendantText" presStyleLbl="alignAccFollowNode1" presStyleIdx="4" presStyleCnt="6" custScaleX="121397" custScaleY="46978">
        <dgm:presLayoutVars>
          <dgm:bulletEnabled val="1"/>
        </dgm:presLayoutVars>
      </dgm:prSet>
      <dgm:spPr/>
    </dgm:pt>
    <dgm:pt modelId="{C635CBF4-8AF4-4B0F-80D6-6AB33FD5DA83}" type="pres">
      <dgm:prSet presAssocID="{F5C69EC1-A223-4DAD-84DB-6BF45B0AA06E}" presName="sp" presStyleCnt="0"/>
      <dgm:spPr/>
    </dgm:pt>
    <dgm:pt modelId="{8671C27A-576F-4DAC-AFB0-219859310389}" type="pres">
      <dgm:prSet presAssocID="{516E98BD-88BA-44FB-AD65-30172D515EA7}" presName="linNode" presStyleCnt="0"/>
      <dgm:spPr/>
    </dgm:pt>
    <dgm:pt modelId="{7C2D09F2-82AC-4C96-ADE8-1FA08835A17C}" type="pres">
      <dgm:prSet presAssocID="{516E98BD-88BA-44FB-AD65-30172D515EA7}" presName="parentText" presStyleLbl="node1" presStyleIdx="5" presStyleCnt="6" custScaleX="75939" custScaleY="19076">
        <dgm:presLayoutVars>
          <dgm:chMax val="1"/>
          <dgm:bulletEnabled val="1"/>
        </dgm:presLayoutVars>
      </dgm:prSet>
      <dgm:spPr/>
    </dgm:pt>
    <dgm:pt modelId="{CEB1C85B-E1A5-4B21-894D-E343A225DA64}" type="pres">
      <dgm:prSet presAssocID="{516E98BD-88BA-44FB-AD65-30172D515EA7}" presName="descendantText" presStyleLbl="alignAccFollowNode1" presStyleIdx="5" presStyleCnt="6" custScaleX="113646" custScaleY="18645">
        <dgm:presLayoutVars>
          <dgm:bulletEnabled val="1"/>
        </dgm:presLayoutVars>
      </dgm:prSet>
      <dgm:spPr/>
    </dgm:pt>
  </dgm:ptLst>
  <dgm:cxnLst>
    <dgm:cxn modelId="{EF5D1901-8268-45CA-A61E-EFEE8CEA48AF}" srcId="{2DB8F66F-D76E-4F13-95E6-034A75110F83}" destId="{D5A33C72-26BF-43BF-BADC-07866FAA2D76}" srcOrd="1" destOrd="0" parTransId="{50721CB2-3EF1-48A7-BB7F-22A654A9E60A}" sibTransId="{5A9C64FE-BCAA-47CB-A158-FBFD588BE39A}"/>
    <dgm:cxn modelId="{ECF40022-946E-419B-BBA5-4FA375FAD9DD}" type="presOf" srcId="{2B5F5839-2386-40C9-B265-B4E75404B35F}" destId="{C3AC3067-7AE3-436C-8183-035777957537}" srcOrd="0" destOrd="0" presId="urn:microsoft.com/office/officeart/2005/8/layout/vList5"/>
    <dgm:cxn modelId="{56271E26-4161-4A74-ADEC-742E1C2F3C15}" srcId="{0792C698-01CA-472E-950D-51F9591D5967}" destId="{27857F77-63A9-4850-836D-05192F21E2FC}" srcOrd="0" destOrd="0" parTransId="{868AEC0D-C4AC-4FFC-A8F1-5C7165C9E45A}" sibTransId="{CC1F4474-560B-4F94-BEA1-BAF367F9421C}"/>
    <dgm:cxn modelId="{FBCF4727-2998-4D1E-A7B6-8B4CB3E71886}" srcId="{C3BAE8DF-FE77-4711-ABDE-F2115DCA05CE}" destId="{3E9A8CAB-2307-4A71-A17E-446BA406DB8C}" srcOrd="0" destOrd="0" parTransId="{F7FBBD54-01B4-4420-A346-072C8974EFC0}" sibTransId="{A172D863-5D3A-4594-B551-23FBC3BFD764}"/>
    <dgm:cxn modelId="{80C6242F-9CFF-499C-9560-96F5B8CDDD5A}" type="presOf" srcId="{516E98BD-88BA-44FB-AD65-30172D515EA7}" destId="{7C2D09F2-82AC-4C96-ADE8-1FA08835A17C}" srcOrd="0" destOrd="0" presId="urn:microsoft.com/office/officeart/2005/8/layout/vList5"/>
    <dgm:cxn modelId="{8F36223E-7DD5-46F9-9996-81248E28116D}" type="presOf" srcId="{FD586EF2-A5AD-4B27-ACE5-BDAB06E3C3F8}" destId="{22DBC66B-C1E0-43DF-8C92-BA9CE4851B6E}" srcOrd="0" destOrd="2" presId="urn:microsoft.com/office/officeart/2005/8/layout/vList5"/>
    <dgm:cxn modelId="{3A3FDC3E-4929-4D35-BBC2-09DE57B9A5B5}" srcId="{2DB8F66F-D76E-4F13-95E6-034A75110F83}" destId="{FD586EF2-A5AD-4B27-ACE5-BDAB06E3C3F8}" srcOrd="2" destOrd="0" parTransId="{BAC14612-FD30-4B8B-9B66-EE3EF92D2721}" sibTransId="{FFD991DD-B27D-4919-BF9E-AA5A42C66B77}"/>
    <dgm:cxn modelId="{68771340-0F29-4542-803D-305FF7AD39AA}" type="presOf" srcId="{CCA53E91-27AF-409F-A621-317A88E604F5}" destId="{93CEB5E8-BD49-47C9-8111-C2E5940C21F7}" srcOrd="0" destOrd="0" presId="urn:microsoft.com/office/officeart/2005/8/layout/vList5"/>
    <dgm:cxn modelId="{82C01C43-2173-4FD4-AAF0-4968ADCD4CF9}" srcId="{683703F4-3B56-431B-BC9C-0A04BA475C05}" destId="{BB8C102C-105D-4BBA-B043-24C194BCF390}" srcOrd="0" destOrd="0" parTransId="{2F29F0AE-9F30-496E-B9F2-9E64C3203AFF}" sibTransId="{0F05E1BF-132D-4077-9857-82A19CAA371F}"/>
    <dgm:cxn modelId="{E3F6F369-9814-40E1-B56F-D54E048368E8}" srcId="{0792C698-01CA-472E-950D-51F9591D5967}" destId="{80086800-98CE-400F-9DAD-BB3D85E251B0}" srcOrd="1" destOrd="0" parTransId="{BE4EB824-0BED-4E87-88CE-B22ACDB96463}" sibTransId="{9AD784D5-BEC4-41CD-8E01-75E0FCA5A823}"/>
    <dgm:cxn modelId="{D7F48F6C-E9FD-4CAA-902A-256A69807E0B}" srcId="{2DB8F66F-D76E-4F13-95E6-034A75110F83}" destId="{88B56C4E-4064-4A6A-90D6-E81BB0A5E280}" srcOrd="0" destOrd="0" parTransId="{E7BD68A4-2E5E-47D7-B707-165A2951ED5B}" sibTransId="{2451FD04-E14C-4E5E-9882-3983A63BB78B}"/>
    <dgm:cxn modelId="{88AF1B6E-AEA0-449A-ADBA-94CE65AB16E3}" type="presOf" srcId="{C3BAE8DF-FE77-4711-ABDE-F2115DCA05CE}" destId="{0C416C2C-D66F-459F-91ED-34CB141140AD}" srcOrd="0" destOrd="0" presId="urn:microsoft.com/office/officeart/2005/8/layout/vList5"/>
    <dgm:cxn modelId="{C722FA71-9ABF-4E78-BA98-CDAC54B75584}" srcId="{0792C698-01CA-472E-950D-51F9591D5967}" destId="{C3BAE8DF-FE77-4711-ABDE-F2115DCA05CE}" srcOrd="3" destOrd="0" parTransId="{A9AF79C2-1544-4197-9C1A-74BEC79528DC}" sibTransId="{E3242202-1C5A-4A7F-BABA-0EEDC9B0C870}"/>
    <dgm:cxn modelId="{7C44E972-D516-4E99-BC88-B2185931E7FF}" srcId="{C3BAE8DF-FE77-4711-ABDE-F2115DCA05CE}" destId="{B0936A92-93BB-4521-97B5-23BC1C7861DC}" srcOrd="1" destOrd="0" parTransId="{D17B21E2-3E31-42FF-950B-71A60383153B}" sibTransId="{EDAA915C-5837-47D4-97DA-FDB312B604EE}"/>
    <dgm:cxn modelId="{BC146B75-44CC-4F71-B13B-F6864FCD44EB}" type="presOf" srcId="{B0936A92-93BB-4521-97B5-23BC1C7861DC}" destId="{55008F07-2E45-492A-95AF-F8A244DA26B8}" srcOrd="0" destOrd="1" presId="urn:microsoft.com/office/officeart/2005/8/layout/vList5"/>
    <dgm:cxn modelId="{E2490789-2EC2-4E8D-A4AF-CF8E6E8CDD59}" type="presOf" srcId="{0792C698-01CA-472E-950D-51F9591D5967}" destId="{0B5459C0-00CA-4372-89E8-D37D77AFC736}" srcOrd="0" destOrd="0" presId="urn:microsoft.com/office/officeart/2005/8/layout/vList5"/>
    <dgm:cxn modelId="{5D643C8C-55F2-46C6-AAED-C997FB749931}" type="presOf" srcId="{88B56C4E-4064-4A6A-90D6-E81BB0A5E280}" destId="{22DBC66B-C1E0-43DF-8C92-BA9CE4851B6E}" srcOrd="0" destOrd="0" presId="urn:microsoft.com/office/officeart/2005/8/layout/vList5"/>
    <dgm:cxn modelId="{C420358F-302F-468F-B8C3-9FC8838948D9}" srcId="{80086800-98CE-400F-9DAD-BB3D85E251B0}" destId="{2B5F5839-2386-40C9-B265-B4E75404B35F}" srcOrd="0" destOrd="0" parTransId="{9FF377D0-12B1-40A8-97E9-CD19101AFD64}" sibTransId="{B4A3F896-D794-422F-8C4A-F6FD9AC1CC11}"/>
    <dgm:cxn modelId="{AB05FFA0-E62E-454B-804A-822891A3991F}" srcId="{516E98BD-88BA-44FB-AD65-30172D515EA7}" destId="{0A0FB49E-1859-4D0A-A5A2-5C8EEF18DBB1}" srcOrd="0" destOrd="0" parTransId="{3990A2BB-FFD8-4EBF-AA3A-BF00E0D05515}" sibTransId="{0DB3A465-DD50-4653-A102-CC0A197987EA}"/>
    <dgm:cxn modelId="{78DF78A2-AF32-48FC-8F28-860016937258}" srcId="{0792C698-01CA-472E-950D-51F9591D5967}" destId="{683703F4-3B56-431B-BC9C-0A04BA475C05}" srcOrd="2" destOrd="0" parTransId="{0B131B55-8057-4A17-A179-A9E100684F20}" sibTransId="{D78DCC03-91A7-48E6-9CA2-0EC9A320FB70}"/>
    <dgm:cxn modelId="{83D0AEA2-8035-4ABB-9833-7C7F16D49562}" type="presOf" srcId="{683703F4-3B56-431B-BC9C-0A04BA475C05}" destId="{7EBC1530-0B83-44D6-94B9-6E894E41449B}" srcOrd="0" destOrd="0" presId="urn:microsoft.com/office/officeart/2005/8/layout/vList5"/>
    <dgm:cxn modelId="{C3DE6EB0-93DF-4164-90DE-B5988BE6E4E3}" type="presOf" srcId="{80086800-98CE-400F-9DAD-BB3D85E251B0}" destId="{50DA88A6-A998-4266-815A-5A3D434D37B6}" srcOrd="0" destOrd="0" presId="urn:microsoft.com/office/officeart/2005/8/layout/vList5"/>
    <dgm:cxn modelId="{992147B2-BDFA-44A9-A4AB-E25C7FDCAA43}" type="presOf" srcId="{D5A33C72-26BF-43BF-BADC-07866FAA2D76}" destId="{22DBC66B-C1E0-43DF-8C92-BA9CE4851B6E}" srcOrd="0" destOrd="1" presId="urn:microsoft.com/office/officeart/2005/8/layout/vList5"/>
    <dgm:cxn modelId="{16D348B5-4175-4D30-856F-0E39BACB4345}" srcId="{0792C698-01CA-472E-950D-51F9591D5967}" destId="{2DB8F66F-D76E-4F13-95E6-034A75110F83}" srcOrd="4" destOrd="0" parTransId="{DCB103DB-F0CC-4002-9A1B-DC2DE2AD12C4}" sibTransId="{F5C69EC1-A223-4DAD-84DB-6BF45B0AA06E}"/>
    <dgm:cxn modelId="{4BF613D2-2AEF-4235-A43F-CF78A4ADC423}" type="presOf" srcId="{3E9A8CAB-2307-4A71-A17E-446BA406DB8C}" destId="{55008F07-2E45-492A-95AF-F8A244DA26B8}" srcOrd="0" destOrd="0" presId="urn:microsoft.com/office/officeart/2005/8/layout/vList5"/>
    <dgm:cxn modelId="{3E580AE0-69CD-465B-A823-4C56C5DEAB2F}" srcId="{0792C698-01CA-472E-950D-51F9591D5967}" destId="{516E98BD-88BA-44FB-AD65-30172D515EA7}" srcOrd="5" destOrd="0" parTransId="{C0C23C1E-2666-4167-BACD-65765FAEB349}" sibTransId="{22BDC3C9-5704-4166-8455-70CD25AA0F79}"/>
    <dgm:cxn modelId="{885E1FE6-3299-4EF0-A40A-5BE913315861}" type="presOf" srcId="{BB8C102C-105D-4BBA-B043-24C194BCF390}" destId="{3446EB98-0C2B-4924-A54B-EEBF14A66AFC}" srcOrd="0" destOrd="0" presId="urn:microsoft.com/office/officeart/2005/8/layout/vList5"/>
    <dgm:cxn modelId="{7F5938EF-2B80-4750-9497-C301E03A0ADD}" type="presOf" srcId="{0A0FB49E-1859-4D0A-A5A2-5C8EEF18DBB1}" destId="{CEB1C85B-E1A5-4B21-894D-E343A225DA64}" srcOrd="0" destOrd="0" presId="urn:microsoft.com/office/officeart/2005/8/layout/vList5"/>
    <dgm:cxn modelId="{47EB85EF-E35A-4B11-B517-0802E1D5A166}" srcId="{27857F77-63A9-4850-836D-05192F21E2FC}" destId="{CCA53E91-27AF-409F-A621-317A88E604F5}" srcOrd="0" destOrd="0" parTransId="{6A74735F-E6DD-4740-A68E-F8DA181B1F68}" sibTransId="{3D78DD48-B2B6-477D-B79F-7D701C1DA5A7}"/>
    <dgm:cxn modelId="{2C1946F3-6498-4714-BAD8-361A73F6B4AB}" type="presOf" srcId="{27857F77-63A9-4850-836D-05192F21E2FC}" destId="{4F3103D8-F6EA-4113-9D22-F995D226426F}" srcOrd="0" destOrd="0" presId="urn:microsoft.com/office/officeart/2005/8/layout/vList5"/>
    <dgm:cxn modelId="{143F0CFC-4762-42AE-BB99-3887157E9D95}" type="presOf" srcId="{2DB8F66F-D76E-4F13-95E6-034A75110F83}" destId="{7103CB86-C6FE-4680-937A-D58DDA0FF35E}" srcOrd="0" destOrd="0" presId="urn:microsoft.com/office/officeart/2005/8/layout/vList5"/>
    <dgm:cxn modelId="{40E39A9E-7825-4A79-A5DF-A7A6B9C94763}" type="presParOf" srcId="{0B5459C0-00CA-4372-89E8-D37D77AFC736}" destId="{68F88E68-E010-49A3-9222-22DB993A7B09}" srcOrd="0" destOrd="0" presId="urn:microsoft.com/office/officeart/2005/8/layout/vList5"/>
    <dgm:cxn modelId="{BE30A5FD-0542-42CF-AC82-4CDDD708D9D4}" type="presParOf" srcId="{68F88E68-E010-49A3-9222-22DB993A7B09}" destId="{4F3103D8-F6EA-4113-9D22-F995D226426F}" srcOrd="0" destOrd="0" presId="urn:microsoft.com/office/officeart/2005/8/layout/vList5"/>
    <dgm:cxn modelId="{4D076780-6580-4BDE-8AFC-175A10550B61}" type="presParOf" srcId="{68F88E68-E010-49A3-9222-22DB993A7B09}" destId="{93CEB5E8-BD49-47C9-8111-C2E5940C21F7}" srcOrd="1" destOrd="0" presId="urn:microsoft.com/office/officeart/2005/8/layout/vList5"/>
    <dgm:cxn modelId="{0FFF7923-F2A5-4EF6-9281-75576ACD5F47}" type="presParOf" srcId="{0B5459C0-00CA-4372-89E8-D37D77AFC736}" destId="{E27939A4-BE3C-48E9-9077-6A07704F58D7}" srcOrd="1" destOrd="0" presId="urn:microsoft.com/office/officeart/2005/8/layout/vList5"/>
    <dgm:cxn modelId="{97FE1F9C-2037-4A30-9371-94AC97133895}" type="presParOf" srcId="{0B5459C0-00CA-4372-89E8-D37D77AFC736}" destId="{45B07785-B530-42F4-8063-BF5D12FD3C2D}" srcOrd="2" destOrd="0" presId="urn:microsoft.com/office/officeart/2005/8/layout/vList5"/>
    <dgm:cxn modelId="{A7A904FB-1E15-488F-A385-74FE72B26660}" type="presParOf" srcId="{45B07785-B530-42F4-8063-BF5D12FD3C2D}" destId="{50DA88A6-A998-4266-815A-5A3D434D37B6}" srcOrd="0" destOrd="0" presId="urn:microsoft.com/office/officeart/2005/8/layout/vList5"/>
    <dgm:cxn modelId="{198D955A-67DF-4B1A-BF0E-904DDDF250CE}" type="presParOf" srcId="{45B07785-B530-42F4-8063-BF5D12FD3C2D}" destId="{C3AC3067-7AE3-436C-8183-035777957537}" srcOrd="1" destOrd="0" presId="urn:microsoft.com/office/officeart/2005/8/layout/vList5"/>
    <dgm:cxn modelId="{E4BC1422-61F1-4BAB-BEE9-2ABE6A77A8B3}" type="presParOf" srcId="{0B5459C0-00CA-4372-89E8-D37D77AFC736}" destId="{1B2A10BF-35BB-4C16-BDA0-3E3F540DDE31}" srcOrd="3" destOrd="0" presId="urn:microsoft.com/office/officeart/2005/8/layout/vList5"/>
    <dgm:cxn modelId="{13B9C0E3-5D9C-4764-9EC3-E9C6CE8C68BC}" type="presParOf" srcId="{0B5459C0-00CA-4372-89E8-D37D77AFC736}" destId="{75F57F3F-EA45-42CC-A920-29E8700F1C6F}" srcOrd="4" destOrd="0" presId="urn:microsoft.com/office/officeart/2005/8/layout/vList5"/>
    <dgm:cxn modelId="{D5CE1EF6-1E89-428B-8849-2B429518C9EB}" type="presParOf" srcId="{75F57F3F-EA45-42CC-A920-29E8700F1C6F}" destId="{7EBC1530-0B83-44D6-94B9-6E894E41449B}" srcOrd="0" destOrd="0" presId="urn:microsoft.com/office/officeart/2005/8/layout/vList5"/>
    <dgm:cxn modelId="{B39D767C-AC96-404D-9C41-C3B22F5D8FD7}" type="presParOf" srcId="{75F57F3F-EA45-42CC-A920-29E8700F1C6F}" destId="{3446EB98-0C2B-4924-A54B-EEBF14A66AFC}" srcOrd="1" destOrd="0" presId="urn:microsoft.com/office/officeart/2005/8/layout/vList5"/>
    <dgm:cxn modelId="{1054FEBA-349A-490F-A063-C52E31C56633}" type="presParOf" srcId="{0B5459C0-00CA-4372-89E8-D37D77AFC736}" destId="{0C5E0B1E-A131-4738-A4F9-02A7D8F08ECD}" srcOrd="5" destOrd="0" presId="urn:microsoft.com/office/officeart/2005/8/layout/vList5"/>
    <dgm:cxn modelId="{136C7DD1-C5EF-4AAF-9DDA-D302FD8619F0}" type="presParOf" srcId="{0B5459C0-00CA-4372-89E8-D37D77AFC736}" destId="{7B3EF2E1-7620-41E0-9451-DA5F07F0B26A}" srcOrd="6" destOrd="0" presId="urn:microsoft.com/office/officeart/2005/8/layout/vList5"/>
    <dgm:cxn modelId="{D247BD27-5B0B-44C1-BCF4-CDB3799851A6}" type="presParOf" srcId="{7B3EF2E1-7620-41E0-9451-DA5F07F0B26A}" destId="{0C416C2C-D66F-459F-91ED-34CB141140AD}" srcOrd="0" destOrd="0" presId="urn:microsoft.com/office/officeart/2005/8/layout/vList5"/>
    <dgm:cxn modelId="{2D8603EB-5F7E-4DE0-A3B2-0EEE2BFEB5F7}" type="presParOf" srcId="{7B3EF2E1-7620-41E0-9451-DA5F07F0B26A}" destId="{55008F07-2E45-492A-95AF-F8A244DA26B8}" srcOrd="1" destOrd="0" presId="urn:microsoft.com/office/officeart/2005/8/layout/vList5"/>
    <dgm:cxn modelId="{078E68B9-4E8B-421A-A36E-0E62A25C0EB8}" type="presParOf" srcId="{0B5459C0-00CA-4372-89E8-D37D77AFC736}" destId="{F0BE0664-6886-4B62-8D31-E1B3EFAB73C7}" srcOrd="7" destOrd="0" presId="urn:microsoft.com/office/officeart/2005/8/layout/vList5"/>
    <dgm:cxn modelId="{2F62F016-088A-4253-A569-09D514151E4A}" type="presParOf" srcId="{0B5459C0-00CA-4372-89E8-D37D77AFC736}" destId="{4ABA376B-4178-4304-B90D-134D44B5EBE6}" srcOrd="8" destOrd="0" presId="urn:microsoft.com/office/officeart/2005/8/layout/vList5"/>
    <dgm:cxn modelId="{D666DB69-016B-4F43-9242-89D9C8D02A7B}" type="presParOf" srcId="{4ABA376B-4178-4304-B90D-134D44B5EBE6}" destId="{7103CB86-C6FE-4680-937A-D58DDA0FF35E}" srcOrd="0" destOrd="0" presId="urn:microsoft.com/office/officeart/2005/8/layout/vList5"/>
    <dgm:cxn modelId="{2640EA30-EACF-4C72-A2D6-E3883CBE4BF9}" type="presParOf" srcId="{4ABA376B-4178-4304-B90D-134D44B5EBE6}" destId="{22DBC66B-C1E0-43DF-8C92-BA9CE4851B6E}" srcOrd="1" destOrd="0" presId="urn:microsoft.com/office/officeart/2005/8/layout/vList5"/>
    <dgm:cxn modelId="{C6FC5C7B-35F1-4D7B-B41E-F39585AA604A}" type="presParOf" srcId="{0B5459C0-00CA-4372-89E8-D37D77AFC736}" destId="{C635CBF4-8AF4-4B0F-80D6-6AB33FD5DA83}" srcOrd="9" destOrd="0" presId="urn:microsoft.com/office/officeart/2005/8/layout/vList5"/>
    <dgm:cxn modelId="{DACB89E4-9295-4E17-8690-57AFBD5475BB}" type="presParOf" srcId="{0B5459C0-00CA-4372-89E8-D37D77AFC736}" destId="{8671C27A-576F-4DAC-AFB0-219859310389}" srcOrd="10" destOrd="0" presId="urn:microsoft.com/office/officeart/2005/8/layout/vList5"/>
    <dgm:cxn modelId="{13B78DF5-C925-4CD3-A279-563F8644FDE5}" type="presParOf" srcId="{8671C27A-576F-4DAC-AFB0-219859310389}" destId="{7C2D09F2-82AC-4C96-ADE8-1FA08835A17C}" srcOrd="0" destOrd="0" presId="urn:microsoft.com/office/officeart/2005/8/layout/vList5"/>
    <dgm:cxn modelId="{AFE21A43-EF8D-4B98-818B-5E217BDF79F7}" type="presParOf" srcId="{8671C27A-576F-4DAC-AFB0-219859310389}" destId="{CEB1C85B-E1A5-4B21-894D-E343A225DA64}"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792C698-01CA-472E-950D-51F9591D5967}"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sl-SI"/>
        </a:p>
      </dgm:t>
    </dgm:pt>
    <dgm:pt modelId="{27857F77-63A9-4850-836D-05192F21E2FC}">
      <dgm:prSet phldrT="[Text]"/>
      <dgm:spPr/>
      <dgm:t>
        <a:bodyPr/>
        <a:lstStyle/>
        <a:p>
          <a:r>
            <a:rPr lang="sl-SI" b="1" dirty="0"/>
            <a:t>Zeleni namen</a:t>
          </a:r>
        </a:p>
      </dgm:t>
    </dgm:pt>
    <dgm:pt modelId="{868AEC0D-C4AC-4FFC-A8F1-5C7165C9E45A}" type="parTrans" cxnId="{56271E26-4161-4A74-ADEC-742E1C2F3C15}">
      <dgm:prSet/>
      <dgm:spPr/>
      <dgm:t>
        <a:bodyPr/>
        <a:lstStyle/>
        <a:p>
          <a:endParaRPr lang="sl-SI"/>
        </a:p>
      </dgm:t>
    </dgm:pt>
    <dgm:pt modelId="{CC1F4474-560B-4F94-BEA1-BAF367F9421C}" type="sibTrans" cxnId="{56271E26-4161-4A74-ADEC-742E1C2F3C15}">
      <dgm:prSet/>
      <dgm:spPr/>
      <dgm:t>
        <a:bodyPr/>
        <a:lstStyle/>
        <a:p>
          <a:endParaRPr lang="sl-SI"/>
        </a:p>
      </dgm:t>
    </dgm:pt>
    <dgm:pt modelId="{CCA53E91-27AF-409F-A621-317A88E604F5}">
      <dgm:prSet phldrT="[Text]" custT="1"/>
      <dgm:spPr/>
      <dgm:t>
        <a:bodyPr/>
        <a:lstStyle/>
        <a:p>
          <a:r>
            <a:rPr lang="sl-SI" sz="1050" b="0"/>
            <a:t>Energetska učinkovitost</a:t>
          </a:r>
        </a:p>
      </dgm:t>
    </dgm:pt>
    <dgm:pt modelId="{6A74735F-E6DD-4740-A68E-F8DA181B1F68}" type="parTrans" cxnId="{47EB85EF-E35A-4B11-B517-0802E1D5A166}">
      <dgm:prSet/>
      <dgm:spPr/>
      <dgm:t>
        <a:bodyPr/>
        <a:lstStyle/>
        <a:p>
          <a:endParaRPr lang="sl-SI"/>
        </a:p>
      </dgm:t>
    </dgm:pt>
    <dgm:pt modelId="{3D78DD48-B2B6-477D-B79F-7D701C1DA5A7}" type="sibTrans" cxnId="{47EB85EF-E35A-4B11-B517-0802E1D5A166}">
      <dgm:prSet/>
      <dgm:spPr/>
      <dgm:t>
        <a:bodyPr/>
        <a:lstStyle/>
        <a:p>
          <a:endParaRPr lang="sl-SI"/>
        </a:p>
      </dgm:t>
    </dgm:pt>
    <dgm:pt modelId="{80086800-98CE-400F-9DAD-BB3D85E251B0}">
      <dgm:prSet phldrT="[Text]"/>
      <dgm:spPr/>
      <dgm:t>
        <a:bodyPr/>
        <a:lstStyle/>
        <a:p>
          <a:r>
            <a:rPr lang="sl-SI" b="1"/>
            <a:t>Zelena vrsta investicije</a:t>
          </a:r>
          <a:endParaRPr lang="sl-SI"/>
        </a:p>
      </dgm:t>
    </dgm:pt>
    <dgm:pt modelId="{BE4EB824-0BED-4E87-88CE-B22ACDB96463}" type="parTrans" cxnId="{E3F6F369-9814-40E1-B56F-D54E048368E8}">
      <dgm:prSet/>
      <dgm:spPr/>
      <dgm:t>
        <a:bodyPr/>
        <a:lstStyle/>
        <a:p>
          <a:endParaRPr lang="sl-SI"/>
        </a:p>
      </dgm:t>
    </dgm:pt>
    <dgm:pt modelId="{9AD784D5-BEC4-41CD-8E01-75E0FCA5A823}" type="sibTrans" cxnId="{E3F6F369-9814-40E1-B56F-D54E048368E8}">
      <dgm:prSet/>
      <dgm:spPr/>
      <dgm:t>
        <a:bodyPr/>
        <a:lstStyle/>
        <a:p>
          <a:endParaRPr lang="sl-SI"/>
        </a:p>
      </dgm:t>
    </dgm:pt>
    <dgm:pt modelId="{2B5F5839-2386-40C9-B265-B4E75404B35F}">
      <dgm:prSet phldrT="[Text]" custT="1"/>
      <dgm:spPr/>
      <dgm:t>
        <a:bodyPr/>
        <a:lstStyle/>
        <a:p>
          <a:r>
            <a:rPr lang="sl-SI" sz="1000"/>
            <a:t>Namestitev, vzdrževanje in popravilo opreme za energetsko učinkovitost </a:t>
          </a:r>
        </a:p>
      </dgm:t>
    </dgm:pt>
    <dgm:pt modelId="{9FF377D0-12B1-40A8-97E9-CD19101AFD64}" type="parTrans" cxnId="{C420358F-302F-468F-B8C3-9FC8838948D9}">
      <dgm:prSet/>
      <dgm:spPr/>
      <dgm:t>
        <a:bodyPr/>
        <a:lstStyle/>
        <a:p>
          <a:endParaRPr lang="sl-SI"/>
        </a:p>
      </dgm:t>
    </dgm:pt>
    <dgm:pt modelId="{B4A3F896-D794-422F-8C4A-F6FD9AC1CC11}" type="sibTrans" cxnId="{C420358F-302F-468F-B8C3-9FC8838948D9}">
      <dgm:prSet/>
      <dgm:spPr/>
      <dgm:t>
        <a:bodyPr/>
        <a:lstStyle/>
        <a:p>
          <a:endParaRPr lang="sl-SI"/>
        </a:p>
      </dgm:t>
    </dgm:pt>
    <dgm:pt modelId="{683703F4-3B56-431B-BC9C-0A04BA475C05}">
      <dgm:prSet phldrT="[Text]"/>
      <dgm:spPr/>
      <dgm:t>
        <a:bodyPr/>
        <a:lstStyle/>
        <a:p>
          <a:r>
            <a:rPr lang="sl-SI" b="1"/>
            <a:t>Opis</a:t>
          </a:r>
          <a:endParaRPr lang="sl-SI"/>
        </a:p>
      </dgm:t>
    </dgm:pt>
    <dgm:pt modelId="{0B131B55-8057-4A17-A179-A9E100684F20}" type="parTrans" cxnId="{78DF78A2-AF32-48FC-8F28-860016937258}">
      <dgm:prSet/>
      <dgm:spPr/>
      <dgm:t>
        <a:bodyPr/>
        <a:lstStyle/>
        <a:p>
          <a:endParaRPr lang="sl-SI"/>
        </a:p>
      </dgm:t>
    </dgm:pt>
    <dgm:pt modelId="{D78DCC03-91A7-48E6-9CA2-0EC9A320FB70}" type="sibTrans" cxnId="{78DF78A2-AF32-48FC-8F28-860016937258}">
      <dgm:prSet/>
      <dgm:spPr/>
      <dgm:t>
        <a:bodyPr/>
        <a:lstStyle/>
        <a:p>
          <a:endParaRPr lang="sl-SI"/>
        </a:p>
      </dgm:t>
    </dgm:pt>
    <dgm:pt modelId="{BB8C102C-105D-4BBA-B043-24C194BCF390}">
      <dgm:prSet phldrT="[Text]" custT="1"/>
      <dgm:spPr/>
      <dgm:t>
        <a:bodyPr/>
        <a:lstStyle/>
        <a:p>
          <a:r>
            <a:rPr lang="sl-SI" sz="1000"/>
            <a:t>Nakup in menjava oken v obstoječi stavbi</a:t>
          </a:r>
        </a:p>
      </dgm:t>
    </dgm:pt>
    <dgm:pt modelId="{2F29F0AE-9F30-496E-B9F2-9E64C3203AFF}" type="parTrans" cxnId="{82C01C43-2173-4FD4-AAF0-4968ADCD4CF9}">
      <dgm:prSet/>
      <dgm:spPr/>
      <dgm:t>
        <a:bodyPr/>
        <a:lstStyle/>
        <a:p>
          <a:endParaRPr lang="sl-SI"/>
        </a:p>
      </dgm:t>
    </dgm:pt>
    <dgm:pt modelId="{0F05E1BF-132D-4077-9857-82A19CAA371F}" type="sibTrans" cxnId="{82C01C43-2173-4FD4-AAF0-4968ADCD4CF9}">
      <dgm:prSet/>
      <dgm:spPr/>
      <dgm:t>
        <a:bodyPr/>
        <a:lstStyle/>
        <a:p>
          <a:endParaRPr lang="sl-SI"/>
        </a:p>
      </dgm:t>
    </dgm:pt>
    <dgm:pt modelId="{A448B56C-DBF5-4622-A278-54F0DB939B75}">
      <dgm:prSet/>
      <dgm:spPr/>
      <dgm:t>
        <a:bodyPr/>
        <a:lstStyle/>
        <a:p>
          <a:r>
            <a:rPr lang="sl-SI" b="1"/>
            <a:t>Kateri vir energije se uporablja za ogrevanje</a:t>
          </a:r>
          <a:r>
            <a:rPr lang="sl-SI"/>
            <a:t>:</a:t>
          </a:r>
        </a:p>
      </dgm:t>
    </dgm:pt>
    <dgm:pt modelId="{F3FE283A-A27A-41B6-B5E7-0DF643EFD4FC}" type="parTrans" cxnId="{62A64B40-9710-4F22-A7B3-53F8F3928BF8}">
      <dgm:prSet/>
      <dgm:spPr/>
      <dgm:t>
        <a:bodyPr/>
        <a:lstStyle/>
        <a:p>
          <a:endParaRPr lang="sl-SI"/>
        </a:p>
      </dgm:t>
    </dgm:pt>
    <dgm:pt modelId="{7A284745-C782-48F1-A0B1-23778308F876}" type="sibTrans" cxnId="{62A64B40-9710-4F22-A7B3-53F8F3928BF8}">
      <dgm:prSet/>
      <dgm:spPr/>
      <dgm:t>
        <a:bodyPr/>
        <a:lstStyle/>
        <a:p>
          <a:endParaRPr lang="sl-SI"/>
        </a:p>
      </dgm:t>
    </dgm:pt>
    <dgm:pt modelId="{B2B5C33F-0130-4174-BE6A-833ABD8F9D8D}">
      <dgm:prSet custT="1"/>
      <dgm:spPr/>
      <dgm:t>
        <a:bodyPr/>
        <a:lstStyle/>
        <a:p>
          <a:r>
            <a:rPr lang="sl-SI" sz="900"/>
            <a:t>biomasa, </a:t>
          </a:r>
        </a:p>
      </dgm:t>
    </dgm:pt>
    <dgm:pt modelId="{3E338A08-C6DB-456D-8BE2-88586F7BE3FC}" type="parTrans" cxnId="{3EF40752-6176-4523-8901-9402D27332BD}">
      <dgm:prSet/>
      <dgm:spPr/>
      <dgm:t>
        <a:bodyPr/>
        <a:lstStyle/>
        <a:p>
          <a:endParaRPr lang="sl-SI"/>
        </a:p>
      </dgm:t>
    </dgm:pt>
    <dgm:pt modelId="{85883341-8590-42C9-B105-1D32A5D70EA9}" type="sibTrans" cxnId="{3EF40752-6176-4523-8901-9402D27332BD}">
      <dgm:prSet/>
      <dgm:spPr/>
      <dgm:t>
        <a:bodyPr/>
        <a:lstStyle/>
        <a:p>
          <a:endParaRPr lang="sl-SI"/>
        </a:p>
      </dgm:t>
    </dgm:pt>
    <dgm:pt modelId="{C3BAE8DF-FE77-4711-ABDE-F2115DCA05CE}">
      <dgm:prSet/>
      <dgm:spPr/>
      <dgm:t>
        <a:bodyPr/>
        <a:lstStyle/>
        <a:p>
          <a:r>
            <a:rPr lang="sl-SI" b="1"/>
            <a:t>Podatki v dokumentaciji: </a:t>
          </a:r>
          <a:endParaRPr lang="sl-SI"/>
        </a:p>
      </dgm:t>
    </dgm:pt>
    <dgm:pt modelId="{A9AF79C2-1544-4197-9C1A-74BEC79528DC}" type="parTrans" cxnId="{C722FA71-9ABF-4E78-BA98-CDAC54B75584}">
      <dgm:prSet/>
      <dgm:spPr/>
      <dgm:t>
        <a:bodyPr/>
        <a:lstStyle/>
        <a:p>
          <a:endParaRPr lang="sl-SI"/>
        </a:p>
      </dgm:t>
    </dgm:pt>
    <dgm:pt modelId="{E3242202-1C5A-4A7F-BABA-0EEDC9B0C870}" type="sibTrans" cxnId="{C722FA71-9ABF-4E78-BA98-CDAC54B75584}">
      <dgm:prSet/>
      <dgm:spPr/>
      <dgm:t>
        <a:bodyPr/>
        <a:lstStyle/>
        <a:p>
          <a:endParaRPr lang="sl-SI"/>
        </a:p>
      </dgm:t>
    </dgm:pt>
    <dgm:pt modelId="{3E9A8CAB-2307-4A71-A17E-446BA406DB8C}">
      <dgm:prSet custT="1"/>
      <dgm:spPr/>
      <dgm:t>
        <a:bodyPr/>
        <a:lstStyle/>
        <a:p>
          <a:r>
            <a:rPr lang="sl-SI" sz="900" dirty="0"/>
            <a:t>Vrsta upravičenih vgrajenih oken </a:t>
          </a:r>
        </a:p>
      </dgm:t>
    </dgm:pt>
    <dgm:pt modelId="{F7FBBD54-01B4-4420-A346-072C8974EFC0}" type="parTrans" cxnId="{FBCF4727-2998-4D1E-A7B6-8B4CB3E71886}">
      <dgm:prSet/>
      <dgm:spPr/>
      <dgm:t>
        <a:bodyPr/>
        <a:lstStyle/>
        <a:p>
          <a:endParaRPr lang="sl-SI"/>
        </a:p>
      </dgm:t>
    </dgm:pt>
    <dgm:pt modelId="{A172D863-5D3A-4594-B551-23FBC3BFD764}" type="sibTrans" cxnId="{FBCF4727-2998-4D1E-A7B6-8B4CB3E71886}">
      <dgm:prSet/>
      <dgm:spPr/>
      <dgm:t>
        <a:bodyPr/>
        <a:lstStyle/>
        <a:p>
          <a:endParaRPr lang="sl-SI"/>
        </a:p>
      </dgm:t>
    </dgm:pt>
    <dgm:pt modelId="{34599C39-2DFA-4C5B-AA3B-4845788E2E26}">
      <dgm:prSet custT="1"/>
      <dgm:spPr/>
      <dgm:t>
        <a:bodyPr/>
        <a:lstStyle/>
        <a:p>
          <a:pPr>
            <a:buFont typeface="Arial" panose="020B0604020202020204" pitchFamily="34" charset="0"/>
            <a:buChar char="-"/>
          </a:pPr>
          <a:r>
            <a:rPr lang="sl-SI" sz="900"/>
            <a:t>Dvojno zastekljena okna </a:t>
          </a:r>
        </a:p>
      </dgm:t>
    </dgm:pt>
    <dgm:pt modelId="{3F9F99C5-AD5C-4971-9A78-40D98961B9A2}" type="parTrans" cxnId="{4CD87EE6-DC24-4EA5-8EAD-418445F289EF}">
      <dgm:prSet/>
      <dgm:spPr/>
      <dgm:t>
        <a:bodyPr/>
        <a:lstStyle/>
        <a:p>
          <a:endParaRPr lang="sl-SI"/>
        </a:p>
      </dgm:t>
    </dgm:pt>
    <dgm:pt modelId="{98EA387F-9175-4154-9006-C0C2A1C1A565}" type="sibTrans" cxnId="{4CD87EE6-DC24-4EA5-8EAD-418445F289EF}">
      <dgm:prSet/>
      <dgm:spPr/>
      <dgm:t>
        <a:bodyPr/>
        <a:lstStyle/>
        <a:p>
          <a:endParaRPr lang="sl-SI"/>
        </a:p>
      </dgm:t>
    </dgm:pt>
    <dgm:pt modelId="{8A830A69-9FB5-4367-A695-A5AEDD77F535}">
      <dgm:prSet custT="1"/>
      <dgm:spPr/>
      <dgm:t>
        <a:bodyPr/>
        <a:lstStyle/>
        <a:p>
          <a:pPr>
            <a:buFont typeface="Arial" panose="020B0604020202020204" pitchFamily="34" charset="0"/>
            <a:buChar char="-"/>
          </a:pPr>
          <a:r>
            <a:rPr lang="sl-SI" sz="900"/>
            <a:t>Trojno zastekljena okna </a:t>
          </a:r>
        </a:p>
      </dgm:t>
    </dgm:pt>
    <dgm:pt modelId="{AFFED204-ED85-468D-906D-5054CD0A65B8}" type="parTrans" cxnId="{B832A6CF-46BD-427E-B8EC-DFE404BBC8DE}">
      <dgm:prSet/>
      <dgm:spPr/>
      <dgm:t>
        <a:bodyPr/>
        <a:lstStyle/>
        <a:p>
          <a:endParaRPr lang="sl-SI"/>
        </a:p>
      </dgm:t>
    </dgm:pt>
    <dgm:pt modelId="{91670CEA-DBDF-487F-839A-06CE70C81CAA}" type="sibTrans" cxnId="{B832A6CF-46BD-427E-B8EC-DFE404BBC8DE}">
      <dgm:prSet/>
      <dgm:spPr/>
      <dgm:t>
        <a:bodyPr/>
        <a:lstStyle/>
        <a:p>
          <a:endParaRPr lang="sl-SI"/>
        </a:p>
      </dgm:t>
    </dgm:pt>
    <dgm:pt modelId="{820FE8BB-06F8-4284-9FAC-6BA2E44AC238}">
      <dgm:prSet custT="1"/>
      <dgm:spPr/>
      <dgm:t>
        <a:bodyPr/>
        <a:lstStyle/>
        <a:p>
          <a:pPr>
            <a:buFont typeface="Arial" panose="020B0604020202020204" pitchFamily="34" charset="0"/>
            <a:buChar char="-"/>
          </a:pPr>
          <a:r>
            <a:rPr lang="sl-SI" sz="900"/>
            <a:t>Dvojno zastekljena okna z zaščitnim premazom</a:t>
          </a:r>
        </a:p>
      </dgm:t>
    </dgm:pt>
    <dgm:pt modelId="{46F70CAA-492D-485E-B8CC-35CAF4807A3C}" type="parTrans" cxnId="{EFCB9DCC-BC54-4AE4-9840-FE82B9A6130E}">
      <dgm:prSet/>
      <dgm:spPr/>
      <dgm:t>
        <a:bodyPr/>
        <a:lstStyle/>
        <a:p>
          <a:endParaRPr lang="sl-SI"/>
        </a:p>
      </dgm:t>
    </dgm:pt>
    <dgm:pt modelId="{D2DF591D-83E2-438B-920B-CFFEE2C59158}" type="sibTrans" cxnId="{EFCB9DCC-BC54-4AE4-9840-FE82B9A6130E}">
      <dgm:prSet/>
      <dgm:spPr/>
      <dgm:t>
        <a:bodyPr/>
        <a:lstStyle/>
        <a:p>
          <a:endParaRPr lang="sl-SI"/>
        </a:p>
      </dgm:t>
    </dgm:pt>
    <dgm:pt modelId="{D9F1C15D-CE9D-49C4-BF7F-524AD2DA0BA9}">
      <dgm:prSet custT="1"/>
      <dgm:spPr/>
      <dgm:t>
        <a:bodyPr/>
        <a:lstStyle/>
        <a:p>
          <a:pPr>
            <a:buFont typeface="Arial" panose="020B0604020202020204" pitchFamily="34" charset="0"/>
            <a:buChar char="-"/>
          </a:pPr>
          <a:r>
            <a:rPr lang="sl-SI" sz="900"/>
            <a:t>Trojno zastekljena okna z zaščitnim premazom</a:t>
          </a:r>
          <a:endParaRPr lang="sl-SI" sz="800"/>
        </a:p>
      </dgm:t>
    </dgm:pt>
    <dgm:pt modelId="{AC59CE61-0B87-4352-9FE9-A800A1045A2E}" type="parTrans" cxnId="{1F73464F-88C2-4AA0-A322-73BAFD30C0AB}">
      <dgm:prSet/>
      <dgm:spPr/>
      <dgm:t>
        <a:bodyPr/>
        <a:lstStyle/>
        <a:p>
          <a:endParaRPr lang="sl-SI"/>
        </a:p>
      </dgm:t>
    </dgm:pt>
    <dgm:pt modelId="{DBFA9F08-78DC-4FB3-8711-64545A82E7BC}" type="sibTrans" cxnId="{1F73464F-88C2-4AA0-A322-73BAFD30C0AB}">
      <dgm:prSet/>
      <dgm:spPr/>
      <dgm:t>
        <a:bodyPr/>
        <a:lstStyle/>
        <a:p>
          <a:endParaRPr lang="sl-SI"/>
        </a:p>
      </dgm:t>
    </dgm:pt>
    <dgm:pt modelId="{36FDB4BB-C53D-4E9F-A298-2C97A36DBFB2}">
      <dgm:prSet/>
      <dgm:spPr/>
      <dgm:t>
        <a:bodyPr/>
        <a:lstStyle/>
        <a:p>
          <a:r>
            <a:rPr lang="sl-SI" b="1"/>
            <a:t>Kvadratura zamenjanih vgrajenih oken</a:t>
          </a:r>
          <a:r>
            <a:rPr lang="sl-SI"/>
            <a:t> </a:t>
          </a:r>
        </a:p>
      </dgm:t>
    </dgm:pt>
    <dgm:pt modelId="{1214EBF9-AFCF-428B-ACA1-35850F54BFE6}" type="parTrans" cxnId="{E6F2A644-FBC8-4E9C-8CB7-BCF92A4240FE}">
      <dgm:prSet/>
      <dgm:spPr/>
      <dgm:t>
        <a:bodyPr/>
        <a:lstStyle/>
        <a:p>
          <a:endParaRPr lang="sl-SI"/>
        </a:p>
      </dgm:t>
    </dgm:pt>
    <dgm:pt modelId="{DA7FA978-2D19-41D5-912C-D2492B9E24CA}" type="sibTrans" cxnId="{E6F2A644-FBC8-4E9C-8CB7-BCF92A4240FE}">
      <dgm:prSet/>
      <dgm:spPr/>
      <dgm:t>
        <a:bodyPr/>
        <a:lstStyle/>
        <a:p>
          <a:endParaRPr lang="sl-SI"/>
        </a:p>
      </dgm:t>
    </dgm:pt>
    <dgm:pt modelId="{E635C32A-9683-4879-9449-BC0D7752ABFB}">
      <dgm:prSet custT="1"/>
      <dgm:spPr/>
      <dgm:t>
        <a:bodyPr/>
        <a:lstStyle/>
        <a:p>
          <a:r>
            <a:rPr lang="sl-SI" sz="1100"/>
            <a:t>m2</a:t>
          </a:r>
          <a:endParaRPr lang="sl-SI" sz="2000"/>
        </a:p>
      </dgm:t>
    </dgm:pt>
    <dgm:pt modelId="{AA3E75AC-7AFE-460F-A36E-1331BF980667}" type="parTrans" cxnId="{42F8ED25-C9B9-4540-BCED-3E4A10E0DFF2}">
      <dgm:prSet/>
      <dgm:spPr/>
      <dgm:t>
        <a:bodyPr/>
        <a:lstStyle/>
        <a:p>
          <a:endParaRPr lang="sl-SI"/>
        </a:p>
      </dgm:t>
    </dgm:pt>
    <dgm:pt modelId="{9BF6D831-837D-4D9D-AAB1-301BB48895D0}" type="sibTrans" cxnId="{42F8ED25-C9B9-4540-BCED-3E4A10E0DFF2}">
      <dgm:prSet/>
      <dgm:spPr/>
      <dgm:t>
        <a:bodyPr/>
        <a:lstStyle/>
        <a:p>
          <a:endParaRPr lang="sl-SI"/>
        </a:p>
      </dgm:t>
    </dgm:pt>
    <dgm:pt modelId="{E419E7BB-3007-4F20-9BC6-A743D40E90F9}">
      <dgm:prSet custT="1"/>
      <dgm:spPr/>
      <dgm:t>
        <a:bodyPr/>
        <a:lstStyle/>
        <a:p>
          <a:r>
            <a:rPr lang="sl-SI" sz="900"/>
            <a:t>premog, </a:t>
          </a:r>
        </a:p>
      </dgm:t>
    </dgm:pt>
    <dgm:pt modelId="{BC6C3B6D-B500-4A12-A264-1FEF34D6FF34}" type="parTrans" cxnId="{EC164681-3819-4CA4-B321-115C73857CB2}">
      <dgm:prSet/>
      <dgm:spPr/>
      <dgm:t>
        <a:bodyPr/>
        <a:lstStyle/>
        <a:p>
          <a:endParaRPr lang="sl-SI"/>
        </a:p>
      </dgm:t>
    </dgm:pt>
    <dgm:pt modelId="{214B0826-6D76-42FA-B34D-39E1EB5531A6}" type="sibTrans" cxnId="{EC164681-3819-4CA4-B321-115C73857CB2}">
      <dgm:prSet/>
      <dgm:spPr/>
      <dgm:t>
        <a:bodyPr/>
        <a:lstStyle/>
        <a:p>
          <a:endParaRPr lang="sl-SI"/>
        </a:p>
      </dgm:t>
    </dgm:pt>
    <dgm:pt modelId="{967F7DC9-C473-4A49-AC84-D7FC4AA21CC2}">
      <dgm:prSet custT="1"/>
      <dgm:spPr/>
      <dgm:t>
        <a:bodyPr/>
        <a:lstStyle/>
        <a:p>
          <a:r>
            <a:rPr lang="sl-SI" sz="900"/>
            <a:t>nafta, </a:t>
          </a:r>
        </a:p>
      </dgm:t>
    </dgm:pt>
    <dgm:pt modelId="{D5119E6A-5B87-4DAD-855B-1CBE63668C35}" type="parTrans" cxnId="{D409E43A-1259-44EB-A752-2BB45DC8CA2D}">
      <dgm:prSet/>
      <dgm:spPr/>
      <dgm:t>
        <a:bodyPr/>
        <a:lstStyle/>
        <a:p>
          <a:endParaRPr lang="sl-SI"/>
        </a:p>
      </dgm:t>
    </dgm:pt>
    <dgm:pt modelId="{73D272C0-BAC9-49F3-BE19-752F7B65E2EF}" type="sibTrans" cxnId="{D409E43A-1259-44EB-A752-2BB45DC8CA2D}">
      <dgm:prSet/>
      <dgm:spPr/>
      <dgm:t>
        <a:bodyPr/>
        <a:lstStyle/>
        <a:p>
          <a:endParaRPr lang="sl-SI"/>
        </a:p>
      </dgm:t>
    </dgm:pt>
    <dgm:pt modelId="{11E5477A-56B1-4E98-BA81-FC43EC309222}">
      <dgm:prSet custT="1"/>
      <dgm:spPr/>
      <dgm:t>
        <a:bodyPr/>
        <a:lstStyle/>
        <a:p>
          <a:r>
            <a:rPr lang="sl-SI" sz="900"/>
            <a:t>kurilno olje, </a:t>
          </a:r>
        </a:p>
      </dgm:t>
    </dgm:pt>
    <dgm:pt modelId="{17FDFBF2-83F4-4D0F-816E-E7A1C8FAC8D7}" type="parTrans" cxnId="{7CE24B8C-ACF3-4041-933A-6B7104021C4D}">
      <dgm:prSet/>
      <dgm:spPr/>
      <dgm:t>
        <a:bodyPr/>
        <a:lstStyle/>
        <a:p>
          <a:endParaRPr lang="sl-SI"/>
        </a:p>
      </dgm:t>
    </dgm:pt>
    <dgm:pt modelId="{4FCA6838-F4DF-4D93-BE5C-D0ACA17C6449}" type="sibTrans" cxnId="{7CE24B8C-ACF3-4041-933A-6B7104021C4D}">
      <dgm:prSet/>
      <dgm:spPr/>
      <dgm:t>
        <a:bodyPr/>
        <a:lstStyle/>
        <a:p>
          <a:endParaRPr lang="sl-SI"/>
        </a:p>
      </dgm:t>
    </dgm:pt>
    <dgm:pt modelId="{622AA106-ABD7-4115-B599-8E705E2A0311}">
      <dgm:prSet custT="1"/>
      <dgm:spPr/>
      <dgm:t>
        <a:bodyPr/>
        <a:lstStyle/>
        <a:p>
          <a:r>
            <a:rPr lang="sl-SI" sz="900"/>
            <a:t>elektrika, LPG, Plin, ostalo</a:t>
          </a:r>
          <a:endParaRPr lang="sl-SI" sz="600"/>
        </a:p>
      </dgm:t>
    </dgm:pt>
    <dgm:pt modelId="{0C806068-65D8-45EA-8594-FD9FE7AFBF2F}" type="parTrans" cxnId="{D5E1A2EF-7870-4497-9AEE-A325B51DE11B}">
      <dgm:prSet/>
      <dgm:spPr/>
      <dgm:t>
        <a:bodyPr/>
        <a:lstStyle/>
        <a:p>
          <a:endParaRPr lang="sl-SI"/>
        </a:p>
      </dgm:t>
    </dgm:pt>
    <dgm:pt modelId="{3B37D505-FCD6-4A19-BE6E-4A9F2ABB13A0}" type="sibTrans" cxnId="{D5E1A2EF-7870-4497-9AEE-A325B51DE11B}">
      <dgm:prSet/>
      <dgm:spPr/>
      <dgm:t>
        <a:bodyPr/>
        <a:lstStyle/>
        <a:p>
          <a:endParaRPr lang="sl-SI"/>
        </a:p>
      </dgm:t>
    </dgm:pt>
    <dgm:pt modelId="{2DB8F66F-D76E-4F13-95E6-034A75110F83}">
      <dgm:prSet/>
      <dgm:spPr/>
      <dgm:t>
        <a:bodyPr/>
        <a:lstStyle/>
        <a:p>
          <a:r>
            <a:rPr lang="en-US" b="1"/>
            <a:t>Ocenjeni vplivi (izračunani na podlagi greenchecker.eib.org):</a:t>
          </a:r>
          <a:endParaRPr lang="sl-SI"/>
        </a:p>
      </dgm:t>
    </dgm:pt>
    <dgm:pt modelId="{DCB103DB-F0CC-4002-9A1B-DC2DE2AD12C4}" type="parTrans" cxnId="{16D348B5-4175-4D30-856F-0E39BACB4345}">
      <dgm:prSet/>
      <dgm:spPr/>
      <dgm:t>
        <a:bodyPr/>
        <a:lstStyle/>
        <a:p>
          <a:endParaRPr lang="sl-SI"/>
        </a:p>
      </dgm:t>
    </dgm:pt>
    <dgm:pt modelId="{F5C69EC1-A223-4DAD-84DB-6BF45B0AA06E}" type="sibTrans" cxnId="{16D348B5-4175-4D30-856F-0E39BACB4345}">
      <dgm:prSet/>
      <dgm:spPr/>
      <dgm:t>
        <a:bodyPr/>
        <a:lstStyle/>
        <a:p>
          <a:endParaRPr lang="sl-SI"/>
        </a:p>
      </dgm:t>
    </dgm:pt>
    <dgm:pt modelId="{88B56C4E-4064-4A6A-90D6-E81BB0A5E280}">
      <dgm:prSet custT="1"/>
      <dgm:spPr/>
      <dgm:t>
        <a:bodyPr/>
        <a:lstStyle/>
        <a:p>
          <a:r>
            <a:rPr lang="sl-SI" sz="800"/>
            <a:t>Prihranek v kg CO2e/leto </a:t>
          </a:r>
        </a:p>
      </dgm:t>
    </dgm:pt>
    <dgm:pt modelId="{2451FD04-E14C-4E5E-9882-3983A63BB78B}" type="sibTrans" cxnId="{D7F48F6C-E9FD-4CAA-902A-256A69807E0B}">
      <dgm:prSet/>
      <dgm:spPr/>
      <dgm:t>
        <a:bodyPr/>
        <a:lstStyle/>
        <a:p>
          <a:endParaRPr lang="sl-SI"/>
        </a:p>
      </dgm:t>
    </dgm:pt>
    <dgm:pt modelId="{E7BD68A4-2E5E-47D7-B707-165A2951ED5B}" type="parTrans" cxnId="{D7F48F6C-E9FD-4CAA-902A-256A69807E0B}">
      <dgm:prSet/>
      <dgm:spPr/>
      <dgm:t>
        <a:bodyPr/>
        <a:lstStyle/>
        <a:p>
          <a:endParaRPr lang="sl-SI"/>
        </a:p>
      </dgm:t>
    </dgm:pt>
    <dgm:pt modelId="{51DA6914-3C38-4C7E-9534-9BA70E046F31}">
      <dgm:prSet custT="1"/>
      <dgm:spPr/>
      <dgm:t>
        <a:bodyPr/>
        <a:lstStyle/>
        <a:p>
          <a:r>
            <a:rPr lang="sl-SI" sz="800"/>
            <a:t>Prihranek primarne energije vvkWh/leto </a:t>
          </a:r>
        </a:p>
      </dgm:t>
    </dgm:pt>
    <dgm:pt modelId="{67E8CC79-826F-44B8-B5F3-285644C3BA38}" type="sibTrans" cxnId="{63EAFA14-0E98-45C2-8640-B9A820A7BFFA}">
      <dgm:prSet/>
      <dgm:spPr/>
      <dgm:t>
        <a:bodyPr/>
        <a:lstStyle/>
        <a:p>
          <a:endParaRPr lang="sl-SI"/>
        </a:p>
      </dgm:t>
    </dgm:pt>
    <dgm:pt modelId="{7EBD0090-D878-4E7E-9CE7-D436AAC9CE1A}" type="parTrans" cxnId="{63EAFA14-0E98-45C2-8640-B9A820A7BFFA}">
      <dgm:prSet/>
      <dgm:spPr/>
      <dgm:t>
        <a:bodyPr/>
        <a:lstStyle/>
        <a:p>
          <a:endParaRPr lang="sl-SI"/>
        </a:p>
      </dgm:t>
    </dgm:pt>
    <dgm:pt modelId="{6D61315A-0F21-4731-B272-1E899159C88E}">
      <dgm:prSet custT="1"/>
      <dgm:spPr/>
      <dgm:t>
        <a:bodyPr/>
        <a:lstStyle/>
        <a:p>
          <a:r>
            <a:rPr lang="sl-SI" sz="800"/>
            <a:t>Prihranek končne energije v kWh/leto</a:t>
          </a:r>
        </a:p>
      </dgm:t>
    </dgm:pt>
    <dgm:pt modelId="{2E7BA02B-65E7-4396-A7D7-DD03CA7746D6}" type="sibTrans" cxnId="{BF5A0DBC-A27E-4F3B-AEDE-B921E5DD061A}">
      <dgm:prSet/>
      <dgm:spPr/>
      <dgm:t>
        <a:bodyPr/>
        <a:lstStyle/>
        <a:p>
          <a:endParaRPr lang="sl-SI"/>
        </a:p>
      </dgm:t>
    </dgm:pt>
    <dgm:pt modelId="{298B6283-8A0D-49D9-A73B-830C72C42A58}" type="parTrans" cxnId="{BF5A0DBC-A27E-4F3B-AEDE-B921E5DD061A}">
      <dgm:prSet/>
      <dgm:spPr/>
      <dgm:t>
        <a:bodyPr/>
        <a:lstStyle/>
        <a:p>
          <a:endParaRPr lang="sl-SI"/>
        </a:p>
      </dgm:t>
    </dgm:pt>
    <dgm:pt modelId="{A85E0DD1-C6C4-4D83-BF03-D00024E172CB}">
      <dgm:prSet/>
      <dgm:spPr/>
      <dgm:t>
        <a:bodyPr/>
        <a:lstStyle/>
        <a:p>
          <a:r>
            <a:rPr lang="sl-SI" b="1" dirty="0"/>
            <a:t>Višina investicije</a:t>
          </a:r>
        </a:p>
      </dgm:t>
    </dgm:pt>
    <dgm:pt modelId="{FE7F67DC-2E53-41F6-A6BE-92B3C307F341}" type="parTrans" cxnId="{8DE4D05F-2A02-4C27-A8A6-8A2825C00B38}">
      <dgm:prSet/>
      <dgm:spPr/>
      <dgm:t>
        <a:bodyPr/>
        <a:lstStyle/>
        <a:p>
          <a:endParaRPr lang="sl-SI"/>
        </a:p>
      </dgm:t>
    </dgm:pt>
    <dgm:pt modelId="{4A06D066-1645-4BE5-B4EC-A4A827EDBC95}" type="sibTrans" cxnId="{8DE4D05F-2A02-4C27-A8A6-8A2825C00B38}">
      <dgm:prSet/>
      <dgm:spPr/>
      <dgm:t>
        <a:bodyPr/>
        <a:lstStyle/>
        <a:p>
          <a:endParaRPr lang="sl-SI"/>
        </a:p>
      </dgm:t>
    </dgm:pt>
    <dgm:pt modelId="{32E42CD9-5DA6-43D2-9457-7ACA2753D5EA}">
      <dgm:prSet/>
      <dgm:spPr/>
      <dgm:t>
        <a:bodyPr/>
        <a:lstStyle/>
        <a:p>
          <a:endParaRPr lang="sl-SI"/>
        </a:p>
      </dgm:t>
    </dgm:pt>
    <dgm:pt modelId="{5FB1990A-572A-4DD2-B023-E350E523C0E0}" type="parTrans" cxnId="{45A2B69B-E274-4D36-AA68-A8400453F576}">
      <dgm:prSet/>
      <dgm:spPr/>
      <dgm:t>
        <a:bodyPr/>
        <a:lstStyle/>
        <a:p>
          <a:endParaRPr lang="sl-SI"/>
        </a:p>
      </dgm:t>
    </dgm:pt>
    <dgm:pt modelId="{35076D48-FE4C-4B3B-805E-C12A327DBFFD}" type="sibTrans" cxnId="{45A2B69B-E274-4D36-AA68-A8400453F576}">
      <dgm:prSet/>
      <dgm:spPr/>
      <dgm:t>
        <a:bodyPr/>
        <a:lstStyle/>
        <a:p>
          <a:endParaRPr lang="sl-SI"/>
        </a:p>
      </dgm:t>
    </dgm:pt>
    <dgm:pt modelId="{90310D76-240A-4825-A6D5-CEF91D511C51}">
      <dgm:prSet custT="1"/>
      <dgm:spPr/>
      <dgm:t>
        <a:bodyPr/>
        <a:lstStyle/>
        <a:p>
          <a:r>
            <a:rPr lang="sl-SI" sz="800"/>
            <a:t>Ocena prihranka stroškov v EUR</a:t>
          </a:r>
        </a:p>
      </dgm:t>
    </dgm:pt>
    <dgm:pt modelId="{7894766B-9A9B-417C-B036-95FC78189FC6}" type="parTrans" cxnId="{614F260B-6981-4D2A-A948-3BC630A1D0CD}">
      <dgm:prSet/>
      <dgm:spPr/>
      <dgm:t>
        <a:bodyPr/>
        <a:lstStyle/>
        <a:p>
          <a:endParaRPr lang="sl-SI"/>
        </a:p>
      </dgm:t>
    </dgm:pt>
    <dgm:pt modelId="{2BC371E7-7241-4E80-A421-F1497EE80C4F}" type="sibTrans" cxnId="{614F260B-6981-4D2A-A948-3BC630A1D0CD}">
      <dgm:prSet/>
      <dgm:spPr/>
      <dgm:t>
        <a:bodyPr/>
        <a:lstStyle/>
        <a:p>
          <a:endParaRPr lang="sl-SI"/>
        </a:p>
      </dgm:t>
    </dgm:pt>
    <dgm:pt modelId="{0B5459C0-00CA-4372-89E8-D37D77AFC736}" type="pres">
      <dgm:prSet presAssocID="{0792C698-01CA-472E-950D-51F9591D5967}" presName="Name0" presStyleCnt="0">
        <dgm:presLayoutVars>
          <dgm:dir/>
          <dgm:animLvl val="lvl"/>
          <dgm:resizeHandles val="exact"/>
        </dgm:presLayoutVars>
      </dgm:prSet>
      <dgm:spPr/>
    </dgm:pt>
    <dgm:pt modelId="{68F88E68-E010-49A3-9222-22DB993A7B09}" type="pres">
      <dgm:prSet presAssocID="{27857F77-63A9-4850-836D-05192F21E2FC}" presName="linNode" presStyleCnt="0"/>
      <dgm:spPr/>
    </dgm:pt>
    <dgm:pt modelId="{4F3103D8-F6EA-4113-9D22-F995D226426F}" type="pres">
      <dgm:prSet presAssocID="{27857F77-63A9-4850-836D-05192F21E2FC}" presName="parentText" presStyleLbl="node1" presStyleIdx="0" presStyleCnt="8" custScaleY="43337">
        <dgm:presLayoutVars>
          <dgm:chMax val="1"/>
          <dgm:bulletEnabled val="1"/>
        </dgm:presLayoutVars>
      </dgm:prSet>
      <dgm:spPr/>
    </dgm:pt>
    <dgm:pt modelId="{93CEB5E8-BD49-47C9-8111-C2E5940C21F7}" type="pres">
      <dgm:prSet presAssocID="{27857F77-63A9-4850-836D-05192F21E2FC}" presName="descendantText" presStyleLbl="alignAccFollowNode1" presStyleIdx="0" presStyleCnt="8" custScaleY="52295">
        <dgm:presLayoutVars>
          <dgm:bulletEnabled val="1"/>
        </dgm:presLayoutVars>
      </dgm:prSet>
      <dgm:spPr/>
    </dgm:pt>
    <dgm:pt modelId="{E27939A4-BE3C-48E9-9077-6A07704F58D7}" type="pres">
      <dgm:prSet presAssocID="{CC1F4474-560B-4F94-BEA1-BAF367F9421C}" presName="sp" presStyleCnt="0"/>
      <dgm:spPr/>
    </dgm:pt>
    <dgm:pt modelId="{45B07785-B530-42F4-8063-BF5D12FD3C2D}" type="pres">
      <dgm:prSet presAssocID="{80086800-98CE-400F-9DAD-BB3D85E251B0}" presName="linNode" presStyleCnt="0"/>
      <dgm:spPr/>
    </dgm:pt>
    <dgm:pt modelId="{50DA88A6-A998-4266-815A-5A3D434D37B6}" type="pres">
      <dgm:prSet presAssocID="{80086800-98CE-400F-9DAD-BB3D85E251B0}" presName="parentText" presStyleLbl="node1" presStyleIdx="1" presStyleCnt="8" custScaleY="50275">
        <dgm:presLayoutVars>
          <dgm:chMax val="1"/>
          <dgm:bulletEnabled val="1"/>
        </dgm:presLayoutVars>
      </dgm:prSet>
      <dgm:spPr/>
    </dgm:pt>
    <dgm:pt modelId="{C3AC3067-7AE3-436C-8183-035777957537}" type="pres">
      <dgm:prSet presAssocID="{80086800-98CE-400F-9DAD-BB3D85E251B0}" presName="descendantText" presStyleLbl="alignAccFollowNode1" presStyleIdx="1" presStyleCnt="8" custScaleY="67679">
        <dgm:presLayoutVars>
          <dgm:bulletEnabled val="1"/>
        </dgm:presLayoutVars>
      </dgm:prSet>
      <dgm:spPr/>
    </dgm:pt>
    <dgm:pt modelId="{1B2A10BF-35BB-4C16-BDA0-3E3F540DDE31}" type="pres">
      <dgm:prSet presAssocID="{9AD784D5-BEC4-41CD-8E01-75E0FCA5A823}" presName="sp" presStyleCnt="0"/>
      <dgm:spPr/>
    </dgm:pt>
    <dgm:pt modelId="{75F57F3F-EA45-42CC-A920-29E8700F1C6F}" type="pres">
      <dgm:prSet presAssocID="{683703F4-3B56-431B-BC9C-0A04BA475C05}" presName="linNode" presStyleCnt="0"/>
      <dgm:spPr/>
    </dgm:pt>
    <dgm:pt modelId="{7EBC1530-0B83-44D6-94B9-6E894E41449B}" type="pres">
      <dgm:prSet presAssocID="{683703F4-3B56-431B-BC9C-0A04BA475C05}" presName="parentText" presStyleLbl="node1" presStyleIdx="2" presStyleCnt="8" custScaleY="47256">
        <dgm:presLayoutVars>
          <dgm:chMax val="1"/>
          <dgm:bulletEnabled val="1"/>
        </dgm:presLayoutVars>
      </dgm:prSet>
      <dgm:spPr/>
    </dgm:pt>
    <dgm:pt modelId="{3446EB98-0C2B-4924-A54B-EEBF14A66AFC}" type="pres">
      <dgm:prSet presAssocID="{683703F4-3B56-431B-BC9C-0A04BA475C05}" presName="descendantText" presStyleLbl="alignAccFollowNode1" presStyleIdx="2" presStyleCnt="8" custScaleY="42881">
        <dgm:presLayoutVars>
          <dgm:bulletEnabled val="1"/>
        </dgm:presLayoutVars>
      </dgm:prSet>
      <dgm:spPr/>
    </dgm:pt>
    <dgm:pt modelId="{0C5E0B1E-A131-4738-A4F9-02A7D8F08ECD}" type="pres">
      <dgm:prSet presAssocID="{D78DCC03-91A7-48E6-9CA2-0EC9A320FB70}" presName="sp" presStyleCnt="0"/>
      <dgm:spPr/>
    </dgm:pt>
    <dgm:pt modelId="{7B3EF2E1-7620-41E0-9451-DA5F07F0B26A}" type="pres">
      <dgm:prSet presAssocID="{C3BAE8DF-FE77-4711-ABDE-F2115DCA05CE}" presName="linNode" presStyleCnt="0"/>
      <dgm:spPr/>
    </dgm:pt>
    <dgm:pt modelId="{0C416C2C-D66F-459F-91ED-34CB141140AD}" type="pres">
      <dgm:prSet presAssocID="{C3BAE8DF-FE77-4711-ABDE-F2115DCA05CE}" presName="parentText" presStyleLbl="node1" presStyleIdx="3" presStyleCnt="8" custScaleY="123878">
        <dgm:presLayoutVars>
          <dgm:chMax val="1"/>
          <dgm:bulletEnabled val="1"/>
        </dgm:presLayoutVars>
      </dgm:prSet>
      <dgm:spPr/>
    </dgm:pt>
    <dgm:pt modelId="{55008F07-2E45-492A-95AF-F8A244DA26B8}" type="pres">
      <dgm:prSet presAssocID="{C3BAE8DF-FE77-4711-ABDE-F2115DCA05CE}" presName="descendantText" presStyleLbl="alignAccFollowNode1" presStyleIdx="3" presStyleCnt="8" custScaleY="136764" custLinFactNeighborX="1852" custLinFactNeighborY="0">
        <dgm:presLayoutVars>
          <dgm:bulletEnabled val="1"/>
        </dgm:presLayoutVars>
      </dgm:prSet>
      <dgm:spPr/>
    </dgm:pt>
    <dgm:pt modelId="{F0BE0664-6886-4B62-8D31-E1B3EFAB73C7}" type="pres">
      <dgm:prSet presAssocID="{E3242202-1C5A-4A7F-BABA-0EEDC9B0C870}" presName="sp" presStyleCnt="0"/>
      <dgm:spPr/>
    </dgm:pt>
    <dgm:pt modelId="{A3ADF232-018F-41E2-A847-7A305A574634}" type="pres">
      <dgm:prSet presAssocID="{36FDB4BB-C53D-4E9F-A298-2C97A36DBFB2}" presName="linNode" presStyleCnt="0"/>
      <dgm:spPr/>
    </dgm:pt>
    <dgm:pt modelId="{46FC0634-DDEE-49DC-B7E0-DBF47EF2CA18}" type="pres">
      <dgm:prSet presAssocID="{36FDB4BB-C53D-4E9F-A298-2C97A36DBFB2}" presName="parentText" presStyleLbl="node1" presStyleIdx="4" presStyleCnt="8" custScaleY="56365">
        <dgm:presLayoutVars>
          <dgm:chMax val="1"/>
          <dgm:bulletEnabled val="1"/>
        </dgm:presLayoutVars>
      </dgm:prSet>
      <dgm:spPr/>
    </dgm:pt>
    <dgm:pt modelId="{A23F40CB-F2EB-4D44-9E68-1853F43DF94A}" type="pres">
      <dgm:prSet presAssocID="{36FDB4BB-C53D-4E9F-A298-2C97A36DBFB2}" presName="descendantText" presStyleLbl="alignAccFollowNode1" presStyleIdx="4" presStyleCnt="8" custScaleY="29023">
        <dgm:presLayoutVars>
          <dgm:bulletEnabled val="1"/>
        </dgm:presLayoutVars>
      </dgm:prSet>
      <dgm:spPr/>
    </dgm:pt>
    <dgm:pt modelId="{D43FD79B-F688-4F79-99C0-E7AEC662C5DB}" type="pres">
      <dgm:prSet presAssocID="{DA7FA978-2D19-41D5-912C-D2492B9E24CA}" presName="sp" presStyleCnt="0"/>
      <dgm:spPr/>
    </dgm:pt>
    <dgm:pt modelId="{D3D40FE3-3E2D-4BC4-BA56-0CFA4D75033C}" type="pres">
      <dgm:prSet presAssocID="{A448B56C-DBF5-4622-A278-54F0DB939B75}" presName="linNode" presStyleCnt="0"/>
      <dgm:spPr/>
    </dgm:pt>
    <dgm:pt modelId="{7C04C658-BAB2-48F3-B289-B9ECAB716CAA}" type="pres">
      <dgm:prSet presAssocID="{A448B56C-DBF5-4622-A278-54F0DB939B75}" presName="parentText" presStyleLbl="node1" presStyleIdx="5" presStyleCnt="8" custScaleY="114383">
        <dgm:presLayoutVars>
          <dgm:chMax val="1"/>
          <dgm:bulletEnabled val="1"/>
        </dgm:presLayoutVars>
      </dgm:prSet>
      <dgm:spPr/>
    </dgm:pt>
    <dgm:pt modelId="{5A65C2A1-6FCD-4B06-A38D-5C48A026996E}" type="pres">
      <dgm:prSet presAssocID="{A448B56C-DBF5-4622-A278-54F0DB939B75}" presName="descendantText" presStyleLbl="alignAccFollowNode1" presStyleIdx="5" presStyleCnt="8" custScaleY="131145">
        <dgm:presLayoutVars>
          <dgm:bulletEnabled val="1"/>
        </dgm:presLayoutVars>
      </dgm:prSet>
      <dgm:spPr/>
    </dgm:pt>
    <dgm:pt modelId="{DA04EDE2-6FC4-46EC-9033-A5AEDD42F0CD}" type="pres">
      <dgm:prSet presAssocID="{7A284745-C782-48F1-A0B1-23778308F876}" presName="sp" presStyleCnt="0"/>
      <dgm:spPr/>
    </dgm:pt>
    <dgm:pt modelId="{4ABA376B-4178-4304-B90D-134D44B5EBE6}" type="pres">
      <dgm:prSet presAssocID="{2DB8F66F-D76E-4F13-95E6-034A75110F83}" presName="linNode" presStyleCnt="0"/>
      <dgm:spPr/>
    </dgm:pt>
    <dgm:pt modelId="{7103CB86-C6FE-4680-937A-D58DDA0FF35E}" type="pres">
      <dgm:prSet presAssocID="{2DB8F66F-D76E-4F13-95E6-034A75110F83}" presName="parentText" presStyleLbl="node1" presStyleIdx="6" presStyleCnt="8" custScaleY="89509">
        <dgm:presLayoutVars>
          <dgm:chMax val="1"/>
          <dgm:bulletEnabled val="1"/>
        </dgm:presLayoutVars>
      </dgm:prSet>
      <dgm:spPr/>
    </dgm:pt>
    <dgm:pt modelId="{22DBC66B-C1E0-43DF-8C92-BA9CE4851B6E}" type="pres">
      <dgm:prSet presAssocID="{2DB8F66F-D76E-4F13-95E6-034A75110F83}" presName="descendantText" presStyleLbl="alignAccFollowNode1" presStyleIdx="6" presStyleCnt="8" custScaleY="91955">
        <dgm:presLayoutVars>
          <dgm:bulletEnabled val="1"/>
        </dgm:presLayoutVars>
      </dgm:prSet>
      <dgm:spPr/>
    </dgm:pt>
    <dgm:pt modelId="{AE0262E8-231C-4CE4-AC12-62F7FCC7E173}" type="pres">
      <dgm:prSet presAssocID="{F5C69EC1-A223-4DAD-84DB-6BF45B0AA06E}" presName="sp" presStyleCnt="0"/>
      <dgm:spPr/>
    </dgm:pt>
    <dgm:pt modelId="{682364B2-E93F-441E-B656-7D2E0E80AD31}" type="pres">
      <dgm:prSet presAssocID="{A85E0DD1-C6C4-4D83-BF03-D00024E172CB}" presName="linNode" presStyleCnt="0"/>
      <dgm:spPr/>
    </dgm:pt>
    <dgm:pt modelId="{1777ED9B-E174-40F0-B13B-C3EEC12AA822}" type="pres">
      <dgm:prSet presAssocID="{A85E0DD1-C6C4-4D83-BF03-D00024E172CB}" presName="parentText" presStyleLbl="node1" presStyleIdx="7" presStyleCnt="8" custScaleY="45377">
        <dgm:presLayoutVars>
          <dgm:chMax val="1"/>
          <dgm:bulletEnabled val="1"/>
        </dgm:presLayoutVars>
      </dgm:prSet>
      <dgm:spPr/>
    </dgm:pt>
    <dgm:pt modelId="{2EECC300-BF5A-48AB-84B9-AA7FFBA14884}" type="pres">
      <dgm:prSet presAssocID="{A85E0DD1-C6C4-4D83-BF03-D00024E172CB}" presName="descendantText" presStyleLbl="alignAccFollowNode1" presStyleIdx="7" presStyleCnt="8" custScaleY="43787">
        <dgm:presLayoutVars>
          <dgm:bulletEnabled val="1"/>
        </dgm:presLayoutVars>
      </dgm:prSet>
      <dgm:spPr/>
    </dgm:pt>
  </dgm:ptLst>
  <dgm:cxnLst>
    <dgm:cxn modelId="{614F260B-6981-4D2A-A948-3BC630A1D0CD}" srcId="{2DB8F66F-D76E-4F13-95E6-034A75110F83}" destId="{90310D76-240A-4825-A6D5-CEF91D511C51}" srcOrd="3" destOrd="0" parTransId="{7894766B-9A9B-417C-B036-95FC78189FC6}" sibTransId="{2BC371E7-7241-4E80-A421-F1497EE80C4F}"/>
    <dgm:cxn modelId="{63EAFA14-0E98-45C2-8640-B9A820A7BFFA}" srcId="{2DB8F66F-D76E-4F13-95E6-034A75110F83}" destId="{51DA6914-3C38-4C7E-9534-9BA70E046F31}" srcOrd="1" destOrd="0" parTransId="{7EBD0090-D878-4E7E-9CE7-D436AAC9CE1A}" sibTransId="{67E8CC79-826F-44B8-B5F3-285644C3BA38}"/>
    <dgm:cxn modelId="{C29FB219-0D5D-431B-8ADD-DD18D3C437D4}" type="presOf" srcId="{36FDB4BB-C53D-4E9F-A298-2C97A36DBFB2}" destId="{46FC0634-DDEE-49DC-B7E0-DBF47EF2CA18}" srcOrd="0" destOrd="0" presId="urn:microsoft.com/office/officeart/2005/8/layout/vList5"/>
    <dgm:cxn modelId="{3B99F21C-4C78-4C9F-B73C-9DC935FF6047}" type="presOf" srcId="{8A830A69-9FB5-4367-A695-A5AEDD77F535}" destId="{55008F07-2E45-492A-95AF-F8A244DA26B8}" srcOrd="0" destOrd="2" presId="urn:microsoft.com/office/officeart/2005/8/layout/vList5"/>
    <dgm:cxn modelId="{ECF40022-946E-419B-BBA5-4FA375FAD9DD}" type="presOf" srcId="{2B5F5839-2386-40C9-B265-B4E75404B35F}" destId="{C3AC3067-7AE3-436C-8183-035777957537}" srcOrd="0" destOrd="0" presId="urn:microsoft.com/office/officeart/2005/8/layout/vList5"/>
    <dgm:cxn modelId="{42F8ED25-C9B9-4540-BCED-3E4A10E0DFF2}" srcId="{36FDB4BB-C53D-4E9F-A298-2C97A36DBFB2}" destId="{E635C32A-9683-4879-9449-BC0D7752ABFB}" srcOrd="0" destOrd="0" parTransId="{AA3E75AC-7AFE-460F-A36E-1331BF980667}" sibTransId="{9BF6D831-837D-4D9D-AAB1-301BB48895D0}"/>
    <dgm:cxn modelId="{56271E26-4161-4A74-ADEC-742E1C2F3C15}" srcId="{0792C698-01CA-472E-950D-51F9591D5967}" destId="{27857F77-63A9-4850-836D-05192F21E2FC}" srcOrd="0" destOrd="0" parTransId="{868AEC0D-C4AC-4FFC-A8F1-5C7165C9E45A}" sibTransId="{CC1F4474-560B-4F94-BEA1-BAF367F9421C}"/>
    <dgm:cxn modelId="{FBCF4727-2998-4D1E-A7B6-8B4CB3E71886}" srcId="{C3BAE8DF-FE77-4711-ABDE-F2115DCA05CE}" destId="{3E9A8CAB-2307-4A71-A17E-446BA406DB8C}" srcOrd="0" destOrd="0" parTransId="{F7FBBD54-01B4-4420-A346-072C8974EFC0}" sibTransId="{A172D863-5D3A-4594-B551-23FBC3BFD764}"/>
    <dgm:cxn modelId="{863B053A-78DA-4415-9E84-252429920653}" type="presOf" srcId="{A448B56C-DBF5-4622-A278-54F0DB939B75}" destId="{7C04C658-BAB2-48F3-B289-B9ECAB716CAA}" srcOrd="0" destOrd="0" presId="urn:microsoft.com/office/officeart/2005/8/layout/vList5"/>
    <dgm:cxn modelId="{D409E43A-1259-44EB-A752-2BB45DC8CA2D}" srcId="{A448B56C-DBF5-4622-A278-54F0DB939B75}" destId="{967F7DC9-C473-4A49-AC84-D7FC4AA21CC2}" srcOrd="2" destOrd="0" parTransId="{D5119E6A-5B87-4DAD-855B-1CBE63668C35}" sibTransId="{73D272C0-BAC9-49F3-BE19-752F7B65E2EF}"/>
    <dgm:cxn modelId="{E229C63E-B254-43A7-9324-F06B07DA1930}" type="presOf" srcId="{A85E0DD1-C6C4-4D83-BF03-D00024E172CB}" destId="{1777ED9B-E174-40F0-B13B-C3EEC12AA822}" srcOrd="0" destOrd="0" presId="urn:microsoft.com/office/officeart/2005/8/layout/vList5"/>
    <dgm:cxn modelId="{68771340-0F29-4542-803D-305FF7AD39AA}" type="presOf" srcId="{CCA53E91-27AF-409F-A621-317A88E604F5}" destId="{93CEB5E8-BD49-47C9-8111-C2E5940C21F7}" srcOrd="0" destOrd="0" presId="urn:microsoft.com/office/officeart/2005/8/layout/vList5"/>
    <dgm:cxn modelId="{62A64B40-9710-4F22-A7B3-53F8F3928BF8}" srcId="{0792C698-01CA-472E-950D-51F9591D5967}" destId="{A448B56C-DBF5-4622-A278-54F0DB939B75}" srcOrd="5" destOrd="0" parTransId="{F3FE283A-A27A-41B6-B5E7-0DF643EFD4FC}" sibTransId="{7A284745-C782-48F1-A0B1-23778308F876}"/>
    <dgm:cxn modelId="{8DE4D05F-2A02-4C27-A8A6-8A2825C00B38}" srcId="{0792C698-01CA-472E-950D-51F9591D5967}" destId="{A85E0DD1-C6C4-4D83-BF03-D00024E172CB}" srcOrd="7" destOrd="0" parTransId="{FE7F67DC-2E53-41F6-A6BE-92B3C307F341}" sibTransId="{4A06D066-1645-4BE5-B4EC-A4A827EDBC95}"/>
    <dgm:cxn modelId="{82C01C43-2173-4FD4-AAF0-4968ADCD4CF9}" srcId="{683703F4-3B56-431B-BC9C-0A04BA475C05}" destId="{BB8C102C-105D-4BBA-B043-24C194BCF390}" srcOrd="0" destOrd="0" parTransId="{2F29F0AE-9F30-496E-B9F2-9E64C3203AFF}" sibTransId="{0F05E1BF-132D-4077-9857-82A19CAA371F}"/>
    <dgm:cxn modelId="{1A34A063-2419-4107-A698-EE7E0D31E314}" type="presOf" srcId="{6D61315A-0F21-4731-B272-1E899159C88E}" destId="{22DBC66B-C1E0-43DF-8C92-BA9CE4851B6E}" srcOrd="0" destOrd="2" presId="urn:microsoft.com/office/officeart/2005/8/layout/vList5"/>
    <dgm:cxn modelId="{E6F2A644-FBC8-4E9C-8CB7-BCF92A4240FE}" srcId="{0792C698-01CA-472E-950D-51F9591D5967}" destId="{36FDB4BB-C53D-4E9F-A298-2C97A36DBFB2}" srcOrd="4" destOrd="0" parTransId="{1214EBF9-AFCF-428B-ACA1-35850F54BFE6}" sibTransId="{DA7FA978-2D19-41D5-912C-D2492B9E24CA}"/>
    <dgm:cxn modelId="{E3F6F369-9814-40E1-B56F-D54E048368E8}" srcId="{0792C698-01CA-472E-950D-51F9591D5967}" destId="{80086800-98CE-400F-9DAD-BB3D85E251B0}" srcOrd="1" destOrd="0" parTransId="{BE4EB824-0BED-4E87-88CE-B22ACDB96463}" sibTransId="{9AD784D5-BEC4-41CD-8E01-75E0FCA5A823}"/>
    <dgm:cxn modelId="{D7F48F6C-E9FD-4CAA-902A-256A69807E0B}" srcId="{2DB8F66F-D76E-4F13-95E6-034A75110F83}" destId="{88B56C4E-4064-4A6A-90D6-E81BB0A5E280}" srcOrd="0" destOrd="0" parTransId="{E7BD68A4-2E5E-47D7-B707-165A2951ED5B}" sibTransId="{2451FD04-E14C-4E5E-9882-3983A63BB78B}"/>
    <dgm:cxn modelId="{88AF1B6E-AEA0-449A-ADBA-94CE65AB16E3}" type="presOf" srcId="{C3BAE8DF-FE77-4711-ABDE-F2115DCA05CE}" destId="{0C416C2C-D66F-459F-91ED-34CB141140AD}" srcOrd="0" destOrd="0" presId="urn:microsoft.com/office/officeart/2005/8/layout/vList5"/>
    <dgm:cxn modelId="{BA502D6F-579E-43CC-9411-AD6591EA8180}" type="presOf" srcId="{D9F1C15D-CE9D-49C4-BF7F-524AD2DA0BA9}" destId="{55008F07-2E45-492A-95AF-F8A244DA26B8}" srcOrd="0" destOrd="4" presId="urn:microsoft.com/office/officeart/2005/8/layout/vList5"/>
    <dgm:cxn modelId="{1F73464F-88C2-4AA0-A322-73BAFD30C0AB}" srcId="{3E9A8CAB-2307-4A71-A17E-446BA406DB8C}" destId="{D9F1C15D-CE9D-49C4-BF7F-524AD2DA0BA9}" srcOrd="3" destOrd="0" parTransId="{AC59CE61-0B87-4352-9FE9-A800A1045A2E}" sibTransId="{DBFA9F08-78DC-4FB3-8711-64545A82E7BC}"/>
    <dgm:cxn modelId="{31C2BF70-108B-4A19-A713-EE66664A3E82}" type="presOf" srcId="{90310D76-240A-4825-A6D5-CEF91D511C51}" destId="{22DBC66B-C1E0-43DF-8C92-BA9CE4851B6E}" srcOrd="0" destOrd="3" presId="urn:microsoft.com/office/officeart/2005/8/layout/vList5"/>
    <dgm:cxn modelId="{C722FA71-9ABF-4E78-BA98-CDAC54B75584}" srcId="{0792C698-01CA-472E-950D-51F9591D5967}" destId="{C3BAE8DF-FE77-4711-ABDE-F2115DCA05CE}" srcOrd="3" destOrd="0" parTransId="{A9AF79C2-1544-4197-9C1A-74BEC79528DC}" sibTransId="{E3242202-1C5A-4A7F-BABA-0EEDC9B0C870}"/>
    <dgm:cxn modelId="{3EF40752-6176-4523-8901-9402D27332BD}" srcId="{A448B56C-DBF5-4622-A278-54F0DB939B75}" destId="{B2B5C33F-0130-4174-BE6A-833ABD8F9D8D}" srcOrd="0" destOrd="0" parTransId="{3E338A08-C6DB-456D-8BE2-88586F7BE3FC}" sibTransId="{85883341-8590-42C9-B105-1D32A5D70EA9}"/>
    <dgm:cxn modelId="{DFDB3D7D-B2CC-41A1-8088-6F34F9BA923E}" type="presOf" srcId="{11E5477A-56B1-4E98-BA81-FC43EC309222}" destId="{5A65C2A1-6FCD-4B06-A38D-5C48A026996E}" srcOrd="0" destOrd="3" presId="urn:microsoft.com/office/officeart/2005/8/layout/vList5"/>
    <dgm:cxn modelId="{D5952380-3551-4E37-89CE-3CF87D7BCF85}" type="presOf" srcId="{B2B5C33F-0130-4174-BE6A-833ABD8F9D8D}" destId="{5A65C2A1-6FCD-4B06-A38D-5C48A026996E}" srcOrd="0" destOrd="0" presId="urn:microsoft.com/office/officeart/2005/8/layout/vList5"/>
    <dgm:cxn modelId="{EC164681-3819-4CA4-B321-115C73857CB2}" srcId="{A448B56C-DBF5-4622-A278-54F0DB939B75}" destId="{E419E7BB-3007-4F20-9BC6-A743D40E90F9}" srcOrd="1" destOrd="0" parTransId="{BC6C3B6D-B500-4A12-A264-1FEF34D6FF34}" sibTransId="{214B0826-6D76-42FA-B34D-39E1EB5531A6}"/>
    <dgm:cxn modelId="{C1572C83-DE71-419D-9019-F30108035160}" type="presOf" srcId="{622AA106-ABD7-4115-B599-8E705E2A0311}" destId="{5A65C2A1-6FCD-4B06-A38D-5C48A026996E}" srcOrd="0" destOrd="4" presId="urn:microsoft.com/office/officeart/2005/8/layout/vList5"/>
    <dgm:cxn modelId="{E2490789-2EC2-4E8D-A4AF-CF8E6E8CDD59}" type="presOf" srcId="{0792C698-01CA-472E-950D-51F9591D5967}" destId="{0B5459C0-00CA-4372-89E8-D37D77AFC736}" srcOrd="0" destOrd="0" presId="urn:microsoft.com/office/officeart/2005/8/layout/vList5"/>
    <dgm:cxn modelId="{5D643C8C-55F2-46C6-AAED-C997FB749931}" type="presOf" srcId="{88B56C4E-4064-4A6A-90D6-E81BB0A5E280}" destId="{22DBC66B-C1E0-43DF-8C92-BA9CE4851B6E}" srcOrd="0" destOrd="0" presId="urn:microsoft.com/office/officeart/2005/8/layout/vList5"/>
    <dgm:cxn modelId="{7CE24B8C-ACF3-4041-933A-6B7104021C4D}" srcId="{A448B56C-DBF5-4622-A278-54F0DB939B75}" destId="{11E5477A-56B1-4E98-BA81-FC43EC309222}" srcOrd="3" destOrd="0" parTransId="{17FDFBF2-83F4-4D0F-816E-E7A1C8FAC8D7}" sibTransId="{4FCA6838-F4DF-4D93-BE5C-D0ACA17C6449}"/>
    <dgm:cxn modelId="{C420358F-302F-468F-B8C3-9FC8838948D9}" srcId="{80086800-98CE-400F-9DAD-BB3D85E251B0}" destId="{2B5F5839-2386-40C9-B265-B4E75404B35F}" srcOrd="0" destOrd="0" parTransId="{9FF377D0-12B1-40A8-97E9-CD19101AFD64}" sibTransId="{B4A3F896-D794-422F-8C4A-F6FD9AC1CC11}"/>
    <dgm:cxn modelId="{313BE498-AE6F-4171-8DEA-22F65C13E0E4}" type="presOf" srcId="{32E42CD9-5DA6-43D2-9457-7ACA2753D5EA}" destId="{2EECC300-BF5A-48AB-84B9-AA7FFBA14884}" srcOrd="0" destOrd="0" presId="urn:microsoft.com/office/officeart/2005/8/layout/vList5"/>
    <dgm:cxn modelId="{45A2B69B-E274-4D36-AA68-A8400453F576}" srcId="{A85E0DD1-C6C4-4D83-BF03-D00024E172CB}" destId="{32E42CD9-5DA6-43D2-9457-7ACA2753D5EA}" srcOrd="0" destOrd="0" parTransId="{5FB1990A-572A-4DD2-B023-E350E523C0E0}" sibTransId="{35076D48-FE4C-4B3B-805E-C12A327DBFFD}"/>
    <dgm:cxn modelId="{78DF78A2-AF32-48FC-8F28-860016937258}" srcId="{0792C698-01CA-472E-950D-51F9591D5967}" destId="{683703F4-3B56-431B-BC9C-0A04BA475C05}" srcOrd="2" destOrd="0" parTransId="{0B131B55-8057-4A17-A179-A9E100684F20}" sibTransId="{D78DCC03-91A7-48E6-9CA2-0EC9A320FB70}"/>
    <dgm:cxn modelId="{83D0AEA2-8035-4ABB-9833-7C7F16D49562}" type="presOf" srcId="{683703F4-3B56-431B-BC9C-0A04BA475C05}" destId="{7EBC1530-0B83-44D6-94B9-6E894E41449B}" srcOrd="0" destOrd="0" presId="urn:microsoft.com/office/officeart/2005/8/layout/vList5"/>
    <dgm:cxn modelId="{96C71BAB-8548-4E99-8977-236985C76F8F}" type="presOf" srcId="{E419E7BB-3007-4F20-9BC6-A743D40E90F9}" destId="{5A65C2A1-6FCD-4B06-A38D-5C48A026996E}" srcOrd="0" destOrd="1" presId="urn:microsoft.com/office/officeart/2005/8/layout/vList5"/>
    <dgm:cxn modelId="{C3DE6EB0-93DF-4164-90DE-B5988BE6E4E3}" type="presOf" srcId="{80086800-98CE-400F-9DAD-BB3D85E251B0}" destId="{50DA88A6-A998-4266-815A-5A3D434D37B6}" srcOrd="0" destOrd="0" presId="urn:microsoft.com/office/officeart/2005/8/layout/vList5"/>
    <dgm:cxn modelId="{16D348B5-4175-4D30-856F-0E39BACB4345}" srcId="{0792C698-01CA-472E-950D-51F9591D5967}" destId="{2DB8F66F-D76E-4F13-95E6-034A75110F83}" srcOrd="6" destOrd="0" parTransId="{DCB103DB-F0CC-4002-9A1B-DC2DE2AD12C4}" sibTransId="{F5C69EC1-A223-4DAD-84DB-6BF45B0AA06E}"/>
    <dgm:cxn modelId="{72C602B8-1CE0-4586-954C-B72B70B3676E}" type="presOf" srcId="{820FE8BB-06F8-4284-9FAC-6BA2E44AC238}" destId="{55008F07-2E45-492A-95AF-F8A244DA26B8}" srcOrd="0" destOrd="3" presId="urn:microsoft.com/office/officeart/2005/8/layout/vList5"/>
    <dgm:cxn modelId="{BF5A0DBC-A27E-4F3B-AEDE-B921E5DD061A}" srcId="{2DB8F66F-D76E-4F13-95E6-034A75110F83}" destId="{6D61315A-0F21-4731-B272-1E899159C88E}" srcOrd="2" destOrd="0" parTransId="{298B6283-8A0D-49D9-A73B-830C72C42A58}" sibTransId="{2E7BA02B-65E7-4396-A7D7-DD03CA7746D6}"/>
    <dgm:cxn modelId="{2C74FAC3-DBC0-45A3-BE8B-995FA2C5AF44}" type="presOf" srcId="{51DA6914-3C38-4C7E-9534-9BA70E046F31}" destId="{22DBC66B-C1E0-43DF-8C92-BA9CE4851B6E}" srcOrd="0" destOrd="1" presId="urn:microsoft.com/office/officeart/2005/8/layout/vList5"/>
    <dgm:cxn modelId="{EFCB9DCC-BC54-4AE4-9840-FE82B9A6130E}" srcId="{3E9A8CAB-2307-4A71-A17E-446BA406DB8C}" destId="{820FE8BB-06F8-4284-9FAC-6BA2E44AC238}" srcOrd="2" destOrd="0" parTransId="{46F70CAA-492D-485E-B8CC-35CAF4807A3C}" sibTransId="{D2DF591D-83E2-438B-920B-CFFEE2C59158}"/>
    <dgm:cxn modelId="{B832A6CF-46BD-427E-B8EC-DFE404BBC8DE}" srcId="{3E9A8CAB-2307-4A71-A17E-446BA406DB8C}" destId="{8A830A69-9FB5-4367-A695-A5AEDD77F535}" srcOrd="1" destOrd="0" parTransId="{AFFED204-ED85-468D-906D-5054CD0A65B8}" sibTransId="{91670CEA-DBDF-487F-839A-06CE70C81CAA}"/>
    <dgm:cxn modelId="{4BF613D2-2AEF-4235-A43F-CF78A4ADC423}" type="presOf" srcId="{3E9A8CAB-2307-4A71-A17E-446BA406DB8C}" destId="{55008F07-2E45-492A-95AF-F8A244DA26B8}" srcOrd="0" destOrd="0" presId="urn:microsoft.com/office/officeart/2005/8/layout/vList5"/>
    <dgm:cxn modelId="{C01A26DD-7D67-4A81-8731-7ABF43CFD331}" type="presOf" srcId="{967F7DC9-C473-4A49-AC84-D7FC4AA21CC2}" destId="{5A65C2A1-6FCD-4B06-A38D-5C48A026996E}" srcOrd="0" destOrd="2" presId="urn:microsoft.com/office/officeart/2005/8/layout/vList5"/>
    <dgm:cxn modelId="{885E1FE6-3299-4EF0-A40A-5BE913315861}" type="presOf" srcId="{BB8C102C-105D-4BBA-B043-24C194BCF390}" destId="{3446EB98-0C2B-4924-A54B-EEBF14A66AFC}" srcOrd="0" destOrd="0" presId="urn:microsoft.com/office/officeart/2005/8/layout/vList5"/>
    <dgm:cxn modelId="{4CD87EE6-DC24-4EA5-8EAD-418445F289EF}" srcId="{3E9A8CAB-2307-4A71-A17E-446BA406DB8C}" destId="{34599C39-2DFA-4C5B-AA3B-4845788E2E26}" srcOrd="0" destOrd="0" parTransId="{3F9F99C5-AD5C-4971-9A78-40D98961B9A2}" sibTransId="{98EA387F-9175-4154-9006-C0C2A1C1A565}"/>
    <dgm:cxn modelId="{47EB85EF-E35A-4B11-B517-0802E1D5A166}" srcId="{27857F77-63A9-4850-836D-05192F21E2FC}" destId="{CCA53E91-27AF-409F-A621-317A88E604F5}" srcOrd="0" destOrd="0" parTransId="{6A74735F-E6DD-4740-A68E-F8DA181B1F68}" sibTransId="{3D78DD48-B2B6-477D-B79F-7D701C1DA5A7}"/>
    <dgm:cxn modelId="{D5E1A2EF-7870-4497-9AEE-A325B51DE11B}" srcId="{A448B56C-DBF5-4622-A278-54F0DB939B75}" destId="{622AA106-ABD7-4115-B599-8E705E2A0311}" srcOrd="4" destOrd="0" parTransId="{0C806068-65D8-45EA-8594-FD9FE7AFBF2F}" sibTransId="{3B37D505-FCD6-4A19-BE6E-4A9F2ABB13A0}"/>
    <dgm:cxn modelId="{2C1946F3-6498-4714-BAD8-361A73F6B4AB}" type="presOf" srcId="{27857F77-63A9-4850-836D-05192F21E2FC}" destId="{4F3103D8-F6EA-4113-9D22-F995D226426F}" srcOrd="0" destOrd="0" presId="urn:microsoft.com/office/officeart/2005/8/layout/vList5"/>
    <dgm:cxn modelId="{E6E88DF3-F7FC-453B-96A3-75A949FC4012}" type="presOf" srcId="{E635C32A-9683-4879-9449-BC0D7752ABFB}" destId="{A23F40CB-F2EB-4D44-9E68-1853F43DF94A}" srcOrd="0" destOrd="0" presId="urn:microsoft.com/office/officeart/2005/8/layout/vList5"/>
    <dgm:cxn modelId="{718453F8-13B3-424C-B675-C11D37A85085}" type="presOf" srcId="{34599C39-2DFA-4C5B-AA3B-4845788E2E26}" destId="{55008F07-2E45-492A-95AF-F8A244DA26B8}" srcOrd="0" destOrd="1" presId="urn:microsoft.com/office/officeart/2005/8/layout/vList5"/>
    <dgm:cxn modelId="{143F0CFC-4762-42AE-BB99-3887157E9D95}" type="presOf" srcId="{2DB8F66F-D76E-4F13-95E6-034A75110F83}" destId="{7103CB86-C6FE-4680-937A-D58DDA0FF35E}" srcOrd="0" destOrd="0" presId="urn:microsoft.com/office/officeart/2005/8/layout/vList5"/>
    <dgm:cxn modelId="{40E39A9E-7825-4A79-A5DF-A7A6B9C94763}" type="presParOf" srcId="{0B5459C0-00CA-4372-89E8-D37D77AFC736}" destId="{68F88E68-E010-49A3-9222-22DB993A7B09}" srcOrd="0" destOrd="0" presId="urn:microsoft.com/office/officeart/2005/8/layout/vList5"/>
    <dgm:cxn modelId="{BE30A5FD-0542-42CF-AC82-4CDDD708D9D4}" type="presParOf" srcId="{68F88E68-E010-49A3-9222-22DB993A7B09}" destId="{4F3103D8-F6EA-4113-9D22-F995D226426F}" srcOrd="0" destOrd="0" presId="urn:microsoft.com/office/officeart/2005/8/layout/vList5"/>
    <dgm:cxn modelId="{4D076780-6580-4BDE-8AFC-175A10550B61}" type="presParOf" srcId="{68F88E68-E010-49A3-9222-22DB993A7B09}" destId="{93CEB5E8-BD49-47C9-8111-C2E5940C21F7}" srcOrd="1" destOrd="0" presId="urn:microsoft.com/office/officeart/2005/8/layout/vList5"/>
    <dgm:cxn modelId="{0FFF7923-F2A5-4EF6-9281-75576ACD5F47}" type="presParOf" srcId="{0B5459C0-00CA-4372-89E8-D37D77AFC736}" destId="{E27939A4-BE3C-48E9-9077-6A07704F58D7}" srcOrd="1" destOrd="0" presId="urn:microsoft.com/office/officeart/2005/8/layout/vList5"/>
    <dgm:cxn modelId="{97FE1F9C-2037-4A30-9371-94AC97133895}" type="presParOf" srcId="{0B5459C0-00CA-4372-89E8-D37D77AFC736}" destId="{45B07785-B530-42F4-8063-BF5D12FD3C2D}" srcOrd="2" destOrd="0" presId="urn:microsoft.com/office/officeart/2005/8/layout/vList5"/>
    <dgm:cxn modelId="{A7A904FB-1E15-488F-A385-74FE72B26660}" type="presParOf" srcId="{45B07785-B530-42F4-8063-BF5D12FD3C2D}" destId="{50DA88A6-A998-4266-815A-5A3D434D37B6}" srcOrd="0" destOrd="0" presId="urn:microsoft.com/office/officeart/2005/8/layout/vList5"/>
    <dgm:cxn modelId="{198D955A-67DF-4B1A-BF0E-904DDDF250CE}" type="presParOf" srcId="{45B07785-B530-42F4-8063-BF5D12FD3C2D}" destId="{C3AC3067-7AE3-436C-8183-035777957537}" srcOrd="1" destOrd="0" presId="urn:microsoft.com/office/officeart/2005/8/layout/vList5"/>
    <dgm:cxn modelId="{E4BC1422-61F1-4BAB-BEE9-2ABE6A77A8B3}" type="presParOf" srcId="{0B5459C0-00CA-4372-89E8-D37D77AFC736}" destId="{1B2A10BF-35BB-4C16-BDA0-3E3F540DDE31}" srcOrd="3" destOrd="0" presId="urn:microsoft.com/office/officeart/2005/8/layout/vList5"/>
    <dgm:cxn modelId="{13B9C0E3-5D9C-4764-9EC3-E9C6CE8C68BC}" type="presParOf" srcId="{0B5459C0-00CA-4372-89E8-D37D77AFC736}" destId="{75F57F3F-EA45-42CC-A920-29E8700F1C6F}" srcOrd="4" destOrd="0" presId="urn:microsoft.com/office/officeart/2005/8/layout/vList5"/>
    <dgm:cxn modelId="{D5CE1EF6-1E89-428B-8849-2B429518C9EB}" type="presParOf" srcId="{75F57F3F-EA45-42CC-A920-29E8700F1C6F}" destId="{7EBC1530-0B83-44D6-94B9-6E894E41449B}" srcOrd="0" destOrd="0" presId="urn:microsoft.com/office/officeart/2005/8/layout/vList5"/>
    <dgm:cxn modelId="{B39D767C-AC96-404D-9C41-C3B22F5D8FD7}" type="presParOf" srcId="{75F57F3F-EA45-42CC-A920-29E8700F1C6F}" destId="{3446EB98-0C2B-4924-A54B-EEBF14A66AFC}" srcOrd="1" destOrd="0" presId="urn:microsoft.com/office/officeart/2005/8/layout/vList5"/>
    <dgm:cxn modelId="{1054FEBA-349A-490F-A063-C52E31C56633}" type="presParOf" srcId="{0B5459C0-00CA-4372-89E8-D37D77AFC736}" destId="{0C5E0B1E-A131-4738-A4F9-02A7D8F08ECD}" srcOrd="5" destOrd="0" presId="urn:microsoft.com/office/officeart/2005/8/layout/vList5"/>
    <dgm:cxn modelId="{136C7DD1-C5EF-4AAF-9DDA-D302FD8619F0}" type="presParOf" srcId="{0B5459C0-00CA-4372-89E8-D37D77AFC736}" destId="{7B3EF2E1-7620-41E0-9451-DA5F07F0B26A}" srcOrd="6" destOrd="0" presId="urn:microsoft.com/office/officeart/2005/8/layout/vList5"/>
    <dgm:cxn modelId="{D247BD27-5B0B-44C1-BCF4-CDB3799851A6}" type="presParOf" srcId="{7B3EF2E1-7620-41E0-9451-DA5F07F0B26A}" destId="{0C416C2C-D66F-459F-91ED-34CB141140AD}" srcOrd="0" destOrd="0" presId="urn:microsoft.com/office/officeart/2005/8/layout/vList5"/>
    <dgm:cxn modelId="{2D8603EB-5F7E-4DE0-A3B2-0EEE2BFEB5F7}" type="presParOf" srcId="{7B3EF2E1-7620-41E0-9451-DA5F07F0B26A}" destId="{55008F07-2E45-492A-95AF-F8A244DA26B8}" srcOrd="1" destOrd="0" presId="urn:microsoft.com/office/officeart/2005/8/layout/vList5"/>
    <dgm:cxn modelId="{078E68B9-4E8B-421A-A36E-0E62A25C0EB8}" type="presParOf" srcId="{0B5459C0-00CA-4372-89E8-D37D77AFC736}" destId="{F0BE0664-6886-4B62-8D31-E1B3EFAB73C7}" srcOrd="7" destOrd="0" presId="urn:microsoft.com/office/officeart/2005/8/layout/vList5"/>
    <dgm:cxn modelId="{BF3B01E2-9F5C-486C-A0DB-13D46C1BA144}" type="presParOf" srcId="{0B5459C0-00CA-4372-89E8-D37D77AFC736}" destId="{A3ADF232-018F-41E2-A847-7A305A574634}" srcOrd="8" destOrd="0" presId="urn:microsoft.com/office/officeart/2005/8/layout/vList5"/>
    <dgm:cxn modelId="{3391E475-911B-45F5-9D1C-09444166721A}" type="presParOf" srcId="{A3ADF232-018F-41E2-A847-7A305A574634}" destId="{46FC0634-DDEE-49DC-B7E0-DBF47EF2CA18}" srcOrd="0" destOrd="0" presId="urn:microsoft.com/office/officeart/2005/8/layout/vList5"/>
    <dgm:cxn modelId="{F40A2AF5-BDC6-49C5-B2B1-4F37F2456D7A}" type="presParOf" srcId="{A3ADF232-018F-41E2-A847-7A305A574634}" destId="{A23F40CB-F2EB-4D44-9E68-1853F43DF94A}" srcOrd="1" destOrd="0" presId="urn:microsoft.com/office/officeart/2005/8/layout/vList5"/>
    <dgm:cxn modelId="{482B26F9-C8DD-43D4-8234-C419908C97FD}" type="presParOf" srcId="{0B5459C0-00CA-4372-89E8-D37D77AFC736}" destId="{D43FD79B-F688-4F79-99C0-E7AEC662C5DB}" srcOrd="9" destOrd="0" presId="urn:microsoft.com/office/officeart/2005/8/layout/vList5"/>
    <dgm:cxn modelId="{D754794F-2A50-4A1E-A60C-9A59318E3C7E}" type="presParOf" srcId="{0B5459C0-00CA-4372-89E8-D37D77AFC736}" destId="{D3D40FE3-3E2D-4BC4-BA56-0CFA4D75033C}" srcOrd="10" destOrd="0" presId="urn:microsoft.com/office/officeart/2005/8/layout/vList5"/>
    <dgm:cxn modelId="{43EF6DDE-2D25-44A8-B8A0-CE367DC44F09}" type="presParOf" srcId="{D3D40FE3-3E2D-4BC4-BA56-0CFA4D75033C}" destId="{7C04C658-BAB2-48F3-B289-B9ECAB716CAA}" srcOrd="0" destOrd="0" presId="urn:microsoft.com/office/officeart/2005/8/layout/vList5"/>
    <dgm:cxn modelId="{DEA850EF-3E6D-40CD-94E0-2E4AE07FF7D0}" type="presParOf" srcId="{D3D40FE3-3E2D-4BC4-BA56-0CFA4D75033C}" destId="{5A65C2A1-6FCD-4B06-A38D-5C48A026996E}" srcOrd="1" destOrd="0" presId="urn:microsoft.com/office/officeart/2005/8/layout/vList5"/>
    <dgm:cxn modelId="{F2E129D2-B23C-4C52-AC0D-C19A43EA8BED}" type="presParOf" srcId="{0B5459C0-00CA-4372-89E8-D37D77AFC736}" destId="{DA04EDE2-6FC4-46EC-9033-A5AEDD42F0CD}" srcOrd="11" destOrd="0" presId="urn:microsoft.com/office/officeart/2005/8/layout/vList5"/>
    <dgm:cxn modelId="{2F62F016-088A-4253-A569-09D514151E4A}" type="presParOf" srcId="{0B5459C0-00CA-4372-89E8-D37D77AFC736}" destId="{4ABA376B-4178-4304-B90D-134D44B5EBE6}" srcOrd="12" destOrd="0" presId="urn:microsoft.com/office/officeart/2005/8/layout/vList5"/>
    <dgm:cxn modelId="{D666DB69-016B-4F43-9242-89D9C8D02A7B}" type="presParOf" srcId="{4ABA376B-4178-4304-B90D-134D44B5EBE6}" destId="{7103CB86-C6FE-4680-937A-D58DDA0FF35E}" srcOrd="0" destOrd="0" presId="urn:microsoft.com/office/officeart/2005/8/layout/vList5"/>
    <dgm:cxn modelId="{2640EA30-EACF-4C72-A2D6-E3883CBE4BF9}" type="presParOf" srcId="{4ABA376B-4178-4304-B90D-134D44B5EBE6}" destId="{22DBC66B-C1E0-43DF-8C92-BA9CE4851B6E}" srcOrd="1" destOrd="0" presId="urn:microsoft.com/office/officeart/2005/8/layout/vList5"/>
    <dgm:cxn modelId="{727671EC-0DE9-404E-96F1-28517E8ED628}" type="presParOf" srcId="{0B5459C0-00CA-4372-89E8-D37D77AFC736}" destId="{AE0262E8-231C-4CE4-AC12-62F7FCC7E173}" srcOrd="13" destOrd="0" presId="urn:microsoft.com/office/officeart/2005/8/layout/vList5"/>
    <dgm:cxn modelId="{F04D5E1F-63A7-4C11-9F2A-D024D88AE6E9}" type="presParOf" srcId="{0B5459C0-00CA-4372-89E8-D37D77AFC736}" destId="{682364B2-E93F-441E-B656-7D2E0E80AD31}" srcOrd="14" destOrd="0" presId="urn:microsoft.com/office/officeart/2005/8/layout/vList5"/>
    <dgm:cxn modelId="{77AFE044-B393-4476-85D6-888D46DC70CE}" type="presParOf" srcId="{682364B2-E93F-441E-B656-7D2E0E80AD31}" destId="{1777ED9B-E174-40F0-B13B-C3EEC12AA822}" srcOrd="0" destOrd="0" presId="urn:microsoft.com/office/officeart/2005/8/layout/vList5"/>
    <dgm:cxn modelId="{36A6133E-CF90-492E-992B-724CE9A113D4}" type="presParOf" srcId="{682364B2-E93F-441E-B656-7D2E0E80AD31}" destId="{2EECC300-BF5A-48AB-84B9-AA7FFBA14884}"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792C698-01CA-472E-950D-51F9591D5967}"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sl-SI"/>
        </a:p>
      </dgm:t>
    </dgm:pt>
    <dgm:pt modelId="{27857F77-63A9-4850-836D-05192F21E2FC}">
      <dgm:prSet phldrT="[Text]"/>
      <dgm:spPr/>
      <dgm:t>
        <a:bodyPr/>
        <a:lstStyle/>
        <a:p>
          <a:r>
            <a:rPr lang="sl-SI"/>
            <a:t>Zeleni namen</a:t>
          </a:r>
        </a:p>
      </dgm:t>
    </dgm:pt>
    <dgm:pt modelId="{868AEC0D-C4AC-4FFC-A8F1-5C7165C9E45A}" type="parTrans" cxnId="{56271E26-4161-4A74-ADEC-742E1C2F3C15}">
      <dgm:prSet/>
      <dgm:spPr/>
      <dgm:t>
        <a:bodyPr/>
        <a:lstStyle/>
        <a:p>
          <a:endParaRPr lang="sl-SI"/>
        </a:p>
      </dgm:t>
    </dgm:pt>
    <dgm:pt modelId="{CC1F4474-560B-4F94-BEA1-BAF367F9421C}" type="sibTrans" cxnId="{56271E26-4161-4A74-ADEC-742E1C2F3C15}">
      <dgm:prSet/>
      <dgm:spPr/>
      <dgm:t>
        <a:bodyPr/>
        <a:lstStyle/>
        <a:p>
          <a:endParaRPr lang="sl-SI"/>
        </a:p>
      </dgm:t>
    </dgm:pt>
    <dgm:pt modelId="{CCA53E91-27AF-409F-A621-317A88E604F5}">
      <dgm:prSet phldrT="[Text]" custT="1"/>
      <dgm:spPr/>
      <dgm:t>
        <a:bodyPr/>
        <a:lstStyle/>
        <a:p>
          <a:r>
            <a:rPr lang="sl-SI" sz="1050" b="0" noProof="0" dirty="0"/>
            <a:t>Namestitev, vzdrževanje in popravilo opreme za energetsko učinkovitost </a:t>
          </a:r>
          <a:endParaRPr lang="sl-SI" sz="1050" b="0" dirty="0"/>
        </a:p>
      </dgm:t>
    </dgm:pt>
    <dgm:pt modelId="{6A74735F-E6DD-4740-A68E-F8DA181B1F68}" type="parTrans" cxnId="{47EB85EF-E35A-4B11-B517-0802E1D5A166}">
      <dgm:prSet/>
      <dgm:spPr/>
      <dgm:t>
        <a:bodyPr/>
        <a:lstStyle/>
        <a:p>
          <a:endParaRPr lang="sl-SI"/>
        </a:p>
      </dgm:t>
    </dgm:pt>
    <dgm:pt modelId="{3D78DD48-B2B6-477D-B79F-7D701C1DA5A7}" type="sibTrans" cxnId="{47EB85EF-E35A-4B11-B517-0802E1D5A166}">
      <dgm:prSet/>
      <dgm:spPr/>
      <dgm:t>
        <a:bodyPr/>
        <a:lstStyle/>
        <a:p>
          <a:endParaRPr lang="sl-SI"/>
        </a:p>
      </dgm:t>
    </dgm:pt>
    <dgm:pt modelId="{80086800-98CE-400F-9DAD-BB3D85E251B0}">
      <dgm:prSet phldrT="[Text]"/>
      <dgm:spPr/>
      <dgm:t>
        <a:bodyPr/>
        <a:lstStyle/>
        <a:p>
          <a:r>
            <a:rPr lang="sl-SI" b="1"/>
            <a:t>Zelena vrsta investicije</a:t>
          </a:r>
          <a:endParaRPr lang="sl-SI"/>
        </a:p>
      </dgm:t>
    </dgm:pt>
    <dgm:pt modelId="{BE4EB824-0BED-4E87-88CE-B22ACDB96463}" type="parTrans" cxnId="{E3F6F369-9814-40E1-B56F-D54E048368E8}">
      <dgm:prSet/>
      <dgm:spPr/>
      <dgm:t>
        <a:bodyPr/>
        <a:lstStyle/>
        <a:p>
          <a:endParaRPr lang="sl-SI"/>
        </a:p>
      </dgm:t>
    </dgm:pt>
    <dgm:pt modelId="{9AD784D5-BEC4-41CD-8E01-75E0FCA5A823}" type="sibTrans" cxnId="{E3F6F369-9814-40E1-B56F-D54E048368E8}">
      <dgm:prSet/>
      <dgm:spPr/>
      <dgm:t>
        <a:bodyPr/>
        <a:lstStyle/>
        <a:p>
          <a:endParaRPr lang="sl-SI"/>
        </a:p>
      </dgm:t>
    </dgm:pt>
    <dgm:pt modelId="{2B5F5839-2386-40C9-B265-B4E75404B35F}">
      <dgm:prSet phldrT="[Text]" custT="1"/>
      <dgm:spPr/>
      <dgm:t>
        <a:bodyPr/>
        <a:lstStyle/>
        <a:p>
          <a:r>
            <a:rPr lang="sl-SI" sz="1000" dirty="0"/>
            <a:t>Zamenjava klimatskih naprav</a:t>
          </a:r>
        </a:p>
      </dgm:t>
    </dgm:pt>
    <dgm:pt modelId="{9FF377D0-12B1-40A8-97E9-CD19101AFD64}" type="parTrans" cxnId="{C420358F-302F-468F-B8C3-9FC8838948D9}">
      <dgm:prSet/>
      <dgm:spPr/>
      <dgm:t>
        <a:bodyPr/>
        <a:lstStyle/>
        <a:p>
          <a:endParaRPr lang="sl-SI"/>
        </a:p>
      </dgm:t>
    </dgm:pt>
    <dgm:pt modelId="{B4A3F896-D794-422F-8C4A-F6FD9AC1CC11}" type="sibTrans" cxnId="{C420358F-302F-468F-B8C3-9FC8838948D9}">
      <dgm:prSet/>
      <dgm:spPr/>
      <dgm:t>
        <a:bodyPr/>
        <a:lstStyle/>
        <a:p>
          <a:endParaRPr lang="sl-SI"/>
        </a:p>
      </dgm:t>
    </dgm:pt>
    <dgm:pt modelId="{683703F4-3B56-431B-BC9C-0A04BA475C05}">
      <dgm:prSet phldrT="[Text]"/>
      <dgm:spPr/>
      <dgm:t>
        <a:bodyPr/>
        <a:lstStyle/>
        <a:p>
          <a:r>
            <a:rPr lang="sl-SI" b="1"/>
            <a:t>Opis</a:t>
          </a:r>
          <a:endParaRPr lang="sl-SI"/>
        </a:p>
      </dgm:t>
    </dgm:pt>
    <dgm:pt modelId="{0B131B55-8057-4A17-A179-A9E100684F20}" type="parTrans" cxnId="{78DF78A2-AF32-48FC-8F28-860016937258}">
      <dgm:prSet/>
      <dgm:spPr/>
      <dgm:t>
        <a:bodyPr/>
        <a:lstStyle/>
        <a:p>
          <a:endParaRPr lang="sl-SI"/>
        </a:p>
      </dgm:t>
    </dgm:pt>
    <dgm:pt modelId="{D78DCC03-91A7-48E6-9CA2-0EC9A320FB70}" type="sibTrans" cxnId="{78DF78A2-AF32-48FC-8F28-860016937258}">
      <dgm:prSet/>
      <dgm:spPr/>
      <dgm:t>
        <a:bodyPr/>
        <a:lstStyle/>
        <a:p>
          <a:endParaRPr lang="sl-SI"/>
        </a:p>
      </dgm:t>
    </dgm:pt>
    <dgm:pt modelId="{BB8C102C-105D-4BBA-B043-24C194BCF390}">
      <dgm:prSet phldrT="[Text]" custT="1"/>
      <dgm:spPr/>
      <dgm:t>
        <a:bodyPr/>
        <a:lstStyle/>
        <a:p>
          <a:r>
            <a:rPr lang="sl-SI" sz="1000"/>
            <a:t>Zamenjava klimatskih naprav in pomožne tehnične opreme je upravičena do zelenega financiranja EIB, če ukrep prihrani primarno energijo </a:t>
          </a:r>
        </a:p>
      </dgm:t>
    </dgm:pt>
    <dgm:pt modelId="{2F29F0AE-9F30-496E-B9F2-9E64C3203AFF}" type="parTrans" cxnId="{82C01C43-2173-4FD4-AAF0-4968ADCD4CF9}">
      <dgm:prSet/>
      <dgm:spPr/>
      <dgm:t>
        <a:bodyPr/>
        <a:lstStyle/>
        <a:p>
          <a:endParaRPr lang="sl-SI"/>
        </a:p>
      </dgm:t>
    </dgm:pt>
    <dgm:pt modelId="{0F05E1BF-132D-4077-9857-82A19CAA371F}" type="sibTrans" cxnId="{82C01C43-2173-4FD4-AAF0-4968ADCD4CF9}">
      <dgm:prSet/>
      <dgm:spPr/>
      <dgm:t>
        <a:bodyPr/>
        <a:lstStyle/>
        <a:p>
          <a:endParaRPr lang="sl-SI"/>
        </a:p>
      </dgm:t>
    </dgm:pt>
    <dgm:pt modelId="{A448B56C-DBF5-4622-A278-54F0DB939B75}">
      <dgm:prSet/>
      <dgm:spPr/>
      <dgm:t>
        <a:bodyPr/>
        <a:lstStyle/>
        <a:p>
          <a:r>
            <a:rPr lang="sl-SI" b="1" dirty="0"/>
            <a:t>Vrsta stavbe, v kateri bo zamenjana klimatska naprava</a:t>
          </a:r>
          <a:endParaRPr lang="sl-SI" dirty="0"/>
        </a:p>
      </dgm:t>
    </dgm:pt>
    <dgm:pt modelId="{F3FE283A-A27A-41B6-B5E7-0DF643EFD4FC}" type="parTrans" cxnId="{62A64B40-9710-4F22-A7B3-53F8F3928BF8}">
      <dgm:prSet/>
      <dgm:spPr/>
      <dgm:t>
        <a:bodyPr/>
        <a:lstStyle/>
        <a:p>
          <a:endParaRPr lang="sl-SI"/>
        </a:p>
      </dgm:t>
    </dgm:pt>
    <dgm:pt modelId="{7A284745-C782-48F1-A0B1-23778308F876}" type="sibTrans" cxnId="{62A64B40-9710-4F22-A7B3-53F8F3928BF8}">
      <dgm:prSet/>
      <dgm:spPr/>
      <dgm:t>
        <a:bodyPr/>
        <a:lstStyle/>
        <a:p>
          <a:endParaRPr lang="sl-SI"/>
        </a:p>
      </dgm:t>
    </dgm:pt>
    <dgm:pt modelId="{B2B5C33F-0130-4174-BE6A-833ABD8F9D8D}">
      <dgm:prSet custT="1"/>
      <dgm:spPr/>
      <dgm:t>
        <a:bodyPr/>
        <a:lstStyle/>
        <a:p>
          <a:r>
            <a:rPr lang="sl-SI" sz="900"/>
            <a:t>Več nadstropna stavba</a:t>
          </a:r>
        </a:p>
      </dgm:t>
    </dgm:pt>
    <dgm:pt modelId="{3E338A08-C6DB-456D-8BE2-88586F7BE3FC}" type="parTrans" cxnId="{3EF40752-6176-4523-8901-9402D27332BD}">
      <dgm:prSet/>
      <dgm:spPr/>
      <dgm:t>
        <a:bodyPr/>
        <a:lstStyle/>
        <a:p>
          <a:endParaRPr lang="sl-SI"/>
        </a:p>
      </dgm:t>
    </dgm:pt>
    <dgm:pt modelId="{85883341-8590-42C9-B105-1D32A5D70EA9}" type="sibTrans" cxnId="{3EF40752-6176-4523-8901-9402D27332BD}">
      <dgm:prSet/>
      <dgm:spPr/>
      <dgm:t>
        <a:bodyPr/>
        <a:lstStyle/>
        <a:p>
          <a:endParaRPr lang="sl-SI"/>
        </a:p>
      </dgm:t>
    </dgm:pt>
    <dgm:pt modelId="{C3BAE8DF-FE77-4711-ABDE-F2115DCA05CE}">
      <dgm:prSet/>
      <dgm:spPr/>
      <dgm:t>
        <a:bodyPr/>
        <a:lstStyle/>
        <a:p>
          <a:r>
            <a:rPr lang="sl-SI" b="1"/>
            <a:t>Podatki v dokumentaciji: </a:t>
          </a:r>
          <a:endParaRPr lang="sl-SI"/>
        </a:p>
      </dgm:t>
    </dgm:pt>
    <dgm:pt modelId="{A9AF79C2-1544-4197-9C1A-74BEC79528DC}" type="parTrans" cxnId="{C722FA71-9ABF-4E78-BA98-CDAC54B75584}">
      <dgm:prSet/>
      <dgm:spPr/>
      <dgm:t>
        <a:bodyPr/>
        <a:lstStyle/>
        <a:p>
          <a:endParaRPr lang="sl-SI"/>
        </a:p>
      </dgm:t>
    </dgm:pt>
    <dgm:pt modelId="{E3242202-1C5A-4A7F-BABA-0EEDC9B0C870}" type="sibTrans" cxnId="{C722FA71-9ABF-4E78-BA98-CDAC54B75584}">
      <dgm:prSet/>
      <dgm:spPr/>
      <dgm:t>
        <a:bodyPr/>
        <a:lstStyle/>
        <a:p>
          <a:endParaRPr lang="sl-SI"/>
        </a:p>
      </dgm:t>
    </dgm:pt>
    <dgm:pt modelId="{3E9A8CAB-2307-4A71-A17E-446BA406DB8C}">
      <dgm:prSet custT="1"/>
      <dgm:spPr/>
      <dgm:t>
        <a:bodyPr/>
        <a:lstStyle/>
        <a:p>
          <a:r>
            <a:rPr lang="sl-SI" sz="900"/>
            <a:t>Vrsta upravičenih energetskih razredov</a:t>
          </a:r>
        </a:p>
      </dgm:t>
    </dgm:pt>
    <dgm:pt modelId="{F7FBBD54-01B4-4420-A346-072C8974EFC0}" type="parTrans" cxnId="{FBCF4727-2998-4D1E-A7B6-8B4CB3E71886}">
      <dgm:prSet/>
      <dgm:spPr/>
      <dgm:t>
        <a:bodyPr/>
        <a:lstStyle/>
        <a:p>
          <a:endParaRPr lang="sl-SI"/>
        </a:p>
      </dgm:t>
    </dgm:pt>
    <dgm:pt modelId="{A172D863-5D3A-4594-B551-23FBC3BFD764}" type="sibTrans" cxnId="{FBCF4727-2998-4D1E-A7B6-8B4CB3E71886}">
      <dgm:prSet/>
      <dgm:spPr/>
      <dgm:t>
        <a:bodyPr/>
        <a:lstStyle/>
        <a:p>
          <a:endParaRPr lang="sl-SI"/>
        </a:p>
      </dgm:t>
    </dgm:pt>
    <dgm:pt modelId="{34599C39-2DFA-4C5B-AA3B-4845788E2E26}">
      <dgm:prSet custT="1"/>
      <dgm:spPr/>
      <dgm:t>
        <a:bodyPr/>
        <a:lstStyle/>
        <a:p>
          <a:pPr>
            <a:buFont typeface="Arial" panose="020B0604020202020204" pitchFamily="34" charset="0"/>
            <a:buChar char="-"/>
          </a:pPr>
          <a:r>
            <a:rPr lang="sl-SI" sz="900"/>
            <a:t>A+++</a:t>
          </a:r>
        </a:p>
      </dgm:t>
    </dgm:pt>
    <dgm:pt modelId="{3F9F99C5-AD5C-4971-9A78-40D98961B9A2}" type="parTrans" cxnId="{4CD87EE6-DC24-4EA5-8EAD-418445F289EF}">
      <dgm:prSet/>
      <dgm:spPr/>
      <dgm:t>
        <a:bodyPr/>
        <a:lstStyle/>
        <a:p>
          <a:endParaRPr lang="sl-SI"/>
        </a:p>
      </dgm:t>
    </dgm:pt>
    <dgm:pt modelId="{98EA387F-9175-4154-9006-C0C2A1C1A565}" type="sibTrans" cxnId="{4CD87EE6-DC24-4EA5-8EAD-418445F289EF}">
      <dgm:prSet/>
      <dgm:spPr/>
      <dgm:t>
        <a:bodyPr/>
        <a:lstStyle/>
        <a:p>
          <a:endParaRPr lang="sl-SI"/>
        </a:p>
      </dgm:t>
    </dgm:pt>
    <dgm:pt modelId="{36FDB4BB-C53D-4E9F-A298-2C97A36DBFB2}">
      <dgm:prSet/>
      <dgm:spPr/>
      <dgm:t>
        <a:bodyPr/>
        <a:lstStyle/>
        <a:p>
          <a:r>
            <a:rPr lang="sl-SI" b="1"/>
            <a:t>Kvadratura površine klimatiziranega prostora</a:t>
          </a:r>
          <a:endParaRPr lang="sl-SI"/>
        </a:p>
      </dgm:t>
    </dgm:pt>
    <dgm:pt modelId="{1214EBF9-AFCF-428B-ACA1-35850F54BFE6}" type="parTrans" cxnId="{E6F2A644-FBC8-4E9C-8CB7-BCF92A4240FE}">
      <dgm:prSet/>
      <dgm:spPr/>
      <dgm:t>
        <a:bodyPr/>
        <a:lstStyle/>
        <a:p>
          <a:endParaRPr lang="sl-SI"/>
        </a:p>
      </dgm:t>
    </dgm:pt>
    <dgm:pt modelId="{DA7FA978-2D19-41D5-912C-D2492B9E24CA}" type="sibTrans" cxnId="{E6F2A644-FBC8-4E9C-8CB7-BCF92A4240FE}">
      <dgm:prSet/>
      <dgm:spPr/>
      <dgm:t>
        <a:bodyPr/>
        <a:lstStyle/>
        <a:p>
          <a:endParaRPr lang="sl-SI"/>
        </a:p>
      </dgm:t>
    </dgm:pt>
    <dgm:pt modelId="{E635C32A-9683-4879-9449-BC0D7752ABFB}">
      <dgm:prSet custT="1"/>
      <dgm:spPr/>
      <dgm:t>
        <a:bodyPr/>
        <a:lstStyle/>
        <a:p>
          <a:r>
            <a:rPr lang="sl-SI" sz="1100"/>
            <a:t>m2</a:t>
          </a:r>
          <a:endParaRPr lang="sl-SI" sz="2000"/>
        </a:p>
      </dgm:t>
    </dgm:pt>
    <dgm:pt modelId="{AA3E75AC-7AFE-460F-A36E-1331BF980667}" type="parTrans" cxnId="{42F8ED25-C9B9-4540-BCED-3E4A10E0DFF2}">
      <dgm:prSet/>
      <dgm:spPr/>
      <dgm:t>
        <a:bodyPr/>
        <a:lstStyle/>
        <a:p>
          <a:endParaRPr lang="sl-SI"/>
        </a:p>
      </dgm:t>
    </dgm:pt>
    <dgm:pt modelId="{9BF6D831-837D-4D9D-AAB1-301BB48895D0}" type="sibTrans" cxnId="{42F8ED25-C9B9-4540-BCED-3E4A10E0DFF2}">
      <dgm:prSet/>
      <dgm:spPr/>
      <dgm:t>
        <a:bodyPr/>
        <a:lstStyle/>
        <a:p>
          <a:endParaRPr lang="sl-SI"/>
        </a:p>
      </dgm:t>
    </dgm:pt>
    <dgm:pt modelId="{2DB8F66F-D76E-4F13-95E6-034A75110F83}">
      <dgm:prSet/>
      <dgm:spPr/>
      <dgm:t>
        <a:bodyPr/>
        <a:lstStyle/>
        <a:p>
          <a:r>
            <a:rPr lang="en-US" b="1"/>
            <a:t>Ocenjeni vplivi (izračunani na podlagi greenchecker.eib.org):</a:t>
          </a:r>
          <a:endParaRPr lang="sl-SI"/>
        </a:p>
      </dgm:t>
    </dgm:pt>
    <dgm:pt modelId="{DCB103DB-F0CC-4002-9A1B-DC2DE2AD12C4}" type="parTrans" cxnId="{16D348B5-4175-4D30-856F-0E39BACB4345}">
      <dgm:prSet/>
      <dgm:spPr/>
      <dgm:t>
        <a:bodyPr/>
        <a:lstStyle/>
        <a:p>
          <a:endParaRPr lang="sl-SI"/>
        </a:p>
      </dgm:t>
    </dgm:pt>
    <dgm:pt modelId="{F5C69EC1-A223-4DAD-84DB-6BF45B0AA06E}" type="sibTrans" cxnId="{16D348B5-4175-4D30-856F-0E39BACB4345}">
      <dgm:prSet/>
      <dgm:spPr/>
      <dgm:t>
        <a:bodyPr/>
        <a:lstStyle/>
        <a:p>
          <a:endParaRPr lang="sl-SI"/>
        </a:p>
      </dgm:t>
    </dgm:pt>
    <dgm:pt modelId="{88B56C4E-4064-4A6A-90D6-E81BB0A5E280}">
      <dgm:prSet custT="1"/>
      <dgm:spPr/>
      <dgm:t>
        <a:bodyPr/>
        <a:lstStyle/>
        <a:p>
          <a:r>
            <a:rPr lang="sl-SI" sz="800"/>
            <a:t>Prihranek CO2 v kg CO2e/leto </a:t>
          </a:r>
        </a:p>
      </dgm:t>
    </dgm:pt>
    <dgm:pt modelId="{2451FD04-E14C-4E5E-9882-3983A63BB78B}" type="sibTrans" cxnId="{D7F48F6C-E9FD-4CAA-902A-256A69807E0B}">
      <dgm:prSet/>
      <dgm:spPr/>
      <dgm:t>
        <a:bodyPr/>
        <a:lstStyle/>
        <a:p>
          <a:endParaRPr lang="sl-SI"/>
        </a:p>
      </dgm:t>
    </dgm:pt>
    <dgm:pt modelId="{E7BD68A4-2E5E-47D7-B707-165A2951ED5B}" type="parTrans" cxnId="{D7F48F6C-E9FD-4CAA-902A-256A69807E0B}">
      <dgm:prSet/>
      <dgm:spPr/>
      <dgm:t>
        <a:bodyPr/>
        <a:lstStyle/>
        <a:p>
          <a:endParaRPr lang="sl-SI"/>
        </a:p>
      </dgm:t>
    </dgm:pt>
    <dgm:pt modelId="{51DA6914-3C38-4C7E-9534-9BA70E046F31}">
      <dgm:prSet custT="1"/>
      <dgm:spPr/>
      <dgm:t>
        <a:bodyPr/>
        <a:lstStyle/>
        <a:p>
          <a:r>
            <a:rPr lang="sl-SI" sz="800"/>
            <a:t>Prihranek primarne energije v vkWh/leto </a:t>
          </a:r>
        </a:p>
      </dgm:t>
    </dgm:pt>
    <dgm:pt modelId="{67E8CC79-826F-44B8-B5F3-285644C3BA38}" type="sibTrans" cxnId="{63EAFA14-0E98-45C2-8640-B9A820A7BFFA}">
      <dgm:prSet/>
      <dgm:spPr/>
      <dgm:t>
        <a:bodyPr/>
        <a:lstStyle/>
        <a:p>
          <a:endParaRPr lang="sl-SI"/>
        </a:p>
      </dgm:t>
    </dgm:pt>
    <dgm:pt modelId="{7EBD0090-D878-4E7E-9CE7-D436AAC9CE1A}" type="parTrans" cxnId="{63EAFA14-0E98-45C2-8640-B9A820A7BFFA}">
      <dgm:prSet/>
      <dgm:spPr/>
      <dgm:t>
        <a:bodyPr/>
        <a:lstStyle/>
        <a:p>
          <a:endParaRPr lang="sl-SI"/>
        </a:p>
      </dgm:t>
    </dgm:pt>
    <dgm:pt modelId="{6D61315A-0F21-4731-B272-1E899159C88E}">
      <dgm:prSet custT="1"/>
      <dgm:spPr/>
      <dgm:t>
        <a:bodyPr/>
        <a:lstStyle/>
        <a:p>
          <a:r>
            <a:rPr lang="sl-SI" sz="800"/>
            <a:t>Prihranek končne energije v kWh/leto</a:t>
          </a:r>
        </a:p>
      </dgm:t>
    </dgm:pt>
    <dgm:pt modelId="{2E7BA02B-65E7-4396-A7D7-DD03CA7746D6}" type="sibTrans" cxnId="{BF5A0DBC-A27E-4F3B-AEDE-B921E5DD061A}">
      <dgm:prSet/>
      <dgm:spPr/>
      <dgm:t>
        <a:bodyPr/>
        <a:lstStyle/>
        <a:p>
          <a:endParaRPr lang="sl-SI"/>
        </a:p>
      </dgm:t>
    </dgm:pt>
    <dgm:pt modelId="{298B6283-8A0D-49D9-A73B-830C72C42A58}" type="parTrans" cxnId="{BF5A0DBC-A27E-4F3B-AEDE-B921E5DD061A}">
      <dgm:prSet/>
      <dgm:spPr/>
      <dgm:t>
        <a:bodyPr/>
        <a:lstStyle/>
        <a:p>
          <a:endParaRPr lang="sl-SI"/>
        </a:p>
      </dgm:t>
    </dgm:pt>
    <dgm:pt modelId="{A85E0DD1-C6C4-4D83-BF03-D00024E172CB}">
      <dgm:prSet/>
      <dgm:spPr/>
      <dgm:t>
        <a:bodyPr/>
        <a:lstStyle/>
        <a:p>
          <a:r>
            <a:rPr lang="sl-SI"/>
            <a:t>Višina investicije</a:t>
          </a:r>
        </a:p>
      </dgm:t>
    </dgm:pt>
    <dgm:pt modelId="{FE7F67DC-2E53-41F6-A6BE-92B3C307F341}" type="parTrans" cxnId="{8DE4D05F-2A02-4C27-A8A6-8A2825C00B38}">
      <dgm:prSet/>
      <dgm:spPr/>
      <dgm:t>
        <a:bodyPr/>
        <a:lstStyle/>
        <a:p>
          <a:endParaRPr lang="sl-SI"/>
        </a:p>
      </dgm:t>
    </dgm:pt>
    <dgm:pt modelId="{4A06D066-1645-4BE5-B4EC-A4A827EDBC95}" type="sibTrans" cxnId="{8DE4D05F-2A02-4C27-A8A6-8A2825C00B38}">
      <dgm:prSet/>
      <dgm:spPr/>
      <dgm:t>
        <a:bodyPr/>
        <a:lstStyle/>
        <a:p>
          <a:endParaRPr lang="sl-SI"/>
        </a:p>
      </dgm:t>
    </dgm:pt>
    <dgm:pt modelId="{32E42CD9-5DA6-43D2-9457-7ACA2753D5EA}">
      <dgm:prSet/>
      <dgm:spPr/>
      <dgm:t>
        <a:bodyPr/>
        <a:lstStyle/>
        <a:p>
          <a:endParaRPr lang="sl-SI"/>
        </a:p>
      </dgm:t>
    </dgm:pt>
    <dgm:pt modelId="{5FB1990A-572A-4DD2-B023-E350E523C0E0}" type="parTrans" cxnId="{45A2B69B-E274-4D36-AA68-A8400453F576}">
      <dgm:prSet/>
      <dgm:spPr/>
      <dgm:t>
        <a:bodyPr/>
        <a:lstStyle/>
        <a:p>
          <a:endParaRPr lang="sl-SI"/>
        </a:p>
      </dgm:t>
    </dgm:pt>
    <dgm:pt modelId="{35076D48-FE4C-4B3B-805E-C12A327DBFFD}" type="sibTrans" cxnId="{45A2B69B-E274-4D36-AA68-A8400453F576}">
      <dgm:prSet/>
      <dgm:spPr/>
      <dgm:t>
        <a:bodyPr/>
        <a:lstStyle/>
        <a:p>
          <a:endParaRPr lang="sl-SI"/>
        </a:p>
      </dgm:t>
    </dgm:pt>
    <dgm:pt modelId="{90310D76-240A-4825-A6D5-CEF91D511C51}">
      <dgm:prSet custT="1"/>
      <dgm:spPr/>
      <dgm:t>
        <a:bodyPr/>
        <a:lstStyle/>
        <a:p>
          <a:r>
            <a:rPr lang="sl-SI" sz="800"/>
            <a:t>Ocena prihranka stroškov v EUR</a:t>
          </a:r>
        </a:p>
      </dgm:t>
    </dgm:pt>
    <dgm:pt modelId="{7894766B-9A9B-417C-B036-95FC78189FC6}" type="parTrans" cxnId="{614F260B-6981-4D2A-A948-3BC630A1D0CD}">
      <dgm:prSet/>
      <dgm:spPr/>
      <dgm:t>
        <a:bodyPr/>
        <a:lstStyle/>
        <a:p>
          <a:endParaRPr lang="sl-SI"/>
        </a:p>
      </dgm:t>
    </dgm:pt>
    <dgm:pt modelId="{2BC371E7-7241-4E80-A421-F1497EE80C4F}" type="sibTrans" cxnId="{614F260B-6981-4D2A-A948-3BC630A1D0CD}">
      <dgm:prSet/>
      <dgm:spPr/>
      <dgm:t>
        <a:bodyPr/>
        <a:lstStyle/>
        <a:p>
          <a:endParaRPr lang="sl-SI"/>
        </a:p>
      </dgm:t>
    </dgm:pt>
    <dgm:pt modelId="{BC1957A3-B084-4ADE-8F4D-CB0EA6874006}">
      <dgm:prSet custT="1"/>
      <dgm:spPr/>
      <dgm:t>
        <a:bodyPr/>
        <a:lstStyle/>
        <a:p>
          <a:pPr>
            <a:buFont typeface="Arial" panose="020B0604020202020204" pitchFamily="34" charset="0"/>
            <a:buChar char="-"/>
          </a:pPr>
          <a:r>
            <a:rPr lang="sl-SI" sz="900" dirty="0"/>
            <a:t>A++</a:t>
          </a:r>
        </a:p>
      </dgm:t>
    </dgm:pt>
    <dgm:pt modelId="{BA435A70-272B-425B-95E9-49338ABC311C}" type="parTrans" cxnId="{9FB116D5-4F49-46BC-A104-C4B7108A9D6D}">
      <dgm:prSet/>
      <dgm:spPr/>
      <dgm:t>
        <a:bodyPr/>
        <a:lstStyle/>
        <a:p>
          <a:endParaRPr lang="sl-SI"/>
        </a:p>
      </dgm:t>
    </dgm:pt>
    <dgm:pt modelId="{5A3EB3AB-5EDB-4C9F-B7E1-3F7062D2E41A}" type="sibTrans" cxnId="{9FB116D5-4F49-46BC-A104-C4B7108A9D6D}">
      <dgm:prSet/>
      <dgm:spPr/>
      <dgm:t>
        <a:bodyPr/>
        <a:lstStyle/>
        <a:p>
          <a:endParaRPr lang="sl-SI"/>
        </a:p>
      </dgm:t>
    </dgm:pt>
    <dgm:pt modelId="{564D7203-2213-4737-9CC1-564863982E40}">
      <dgm:prSet custT="1"/>
      <dgm:spPr/>
      <dgm:t>
        <a:bodyPr/>
        <a:lstStyle/>
        <a:p>
          <a:r>
            <a:rPr lang="sl-SI" sz="900" dirty="0"/>
            <a:t>Enonadstropna stavba</a:t>
          </a:r>
        </a:p>
      </dgm:t>
    </dgm:pt>
    <dgm:pt modelId="{C8EB8871-D468-44AD-8A3C-5655BE5148EC}" type="parTrans" cxnId="{86239625-1F1D-4F80-BB7F-BEAFCEEAB74B}">
      <dgm:prSet/>
      <dgm:spPr/>
      <dgm:t>
        <a:bodyPr/>
        <a:lstStyle/>
        <a:p>
          <a:endParaRPr lang="sl-SI"/>
        </a:p>
      </dgm:t>
    </dgm:pt>
    <dgm:pt modelId="{90B267F6-6D33-4DA6-A961-78F9D75E8C81}" type="sibTrans" cxnId="{86239625-1F1D-4F80-BB7F-BEAFCEEAB74B}">
      <dgm:prSet/>
      <dgm:spPr/>
      <dgm:t>
        <a:bodyPr/>
        <a:lstStyle/>
        <a:p>
          <a:endParaRPr lang="sl-SI"/>
        </a:p>
      </dgm:t>
    </dgm:pt>
    <dgm:pt modelId="{62DF5E89-B433-49C8-B08F-CE6904BCF21F}">
      <dgm:prSet custT="1"/>
      <dgm:spPr/>
      <dgm:t>
        <a:bodyPr/>
        <a:lstStyle/>
        <a:p>
          <a:r>
            <a:rPr lang="sl-SI" sz="900"/>
            <a:t>Dvoroanska stavba z nekaj okni</a:t>
          </a:r>
        </a:p>
      </dgm:t>
    </dgm:pt>
    <dgm:pt modelId="{CC0A95D3-E201-4B2C-953B-23939B621F0E}" type="parTrans" cxnId="{97275B8D-3C2A-4B88-B431-757425358D5F}">
      <dgm:prSet/>
      <dgm:spPr/>
      <dgm:t>
        <a:bodyPr/>
        <a:lstStyle/>
        <a:p>
          <a:endParaRPr lang="sl-SI"/>
        </a:p>
      </dgm:t>
    </dgm:pt>
    <dgm:pt modelId="{AB11A90E-D363-42DE-83AE-B05D18D8CAD2}" type="sibTrans" cxnId="{97275B8D-3C2A-4B88-B431-757425358D5F}">
      <dgm:prSet/>
      <dgm:spPr/>
      <dgm:t>
        <a:bodyPr/>
        <a:lstStyle/>
        <a:p>
          <a:endParaRPr lang="sl-SI"/>
        </a:p>
      </dgm:t>
    </dgm:pt>
    <dgm:pt modelId="{AE8A9466-2770-4485-AA26-163E06842CE1}">
      <dgm:prSet/>
      <dgm:spPr/>
      <dgm:t>
        <a:bodyPr/>
        <a:lstStyle/>
        <a:p>
          <a:r>
            <a:rPr lang="sl-SI" b="1" dirty="0"/>
            <a:t>Razredi energetske učinkovitosti zamenjanih enot</a:t>
          </a:r>
        </a:p>
      </dgm:t>
    </dgm:pt>
    <dgm:pt modelId="{48138576-55EF-4715-9E27-3567ED9B000B}" type="parTrans" cxnId="{8C0136C2-258A-43C4-BF51-289AA090292C}">
      <dgm:prSet/>
      <dgm:spPr/>
      <dgm:t>
        <a:bodyPr/>
        <a:lstStyle/>
        <a:p>
          <a:endParaRPr lang="sl-SI"/>
        </a:p>
      </dgm:t>
    </dgm:pt>
    <dgm:pt modelId="{35EBBFB1-627C-407F-A23D-F886D572CAE3}" type="sibTrans" cxnId="{8C0136C2-258A-43C4-BF51-289AA090292C}">
      <dgm:prSet/>
      <dgm:spPr/>
      <dgm:t>
        <a:bodyPr/>
        <a:lstStyle/>
        <a:p>
          <a:endParaRPr lang="sl-SI"/>
        </a:p>
      </dgm:t>
    </dgm:pt>
    <dgm:pt modelId="{1D14DECC-1754-429F-AB74-577A5F8EAB3B}">
      <dgm:prSet/>
      <dgm:spPr/>
      <dgm:t>
        <a:bodyPr/>
        <a:lstStyle/>
        <a:p>
          <a:r>
            <a:rPr lang="sl-SI"/>
            <a:t>Zamenjani energetski razredi</a:t>
          </a:r>
        </a:p>
      </dgm:t>
    </dgm:pt>
    <dgm:pt modelId="{9920E9E9-E7A1-4A67-827A-8F890EB314EB}" type="parTrans" cxnId="{2C854612-54EE-4EDE-860D-CEE8C1E5DADF}">
      <dgm:prSet/>
      <dgm:spPr/>
      <dgm:t>
        <a:bodyPr/>
        <a:lstStyle/>
        <a:p>
          <a:endParaRPr lang="sl-SI"/>
        </a:p>
      </dgm:t>
    </dgm:pt>
    <dgm:pt modelId="{F6D9F47A-85EE-4067-AAD4-4A7E09125E4B}" type="sibTrans" cxnId="{2C854612-54EE-4EDE-860D-CEE8C1E5DADF}">
      <dgm:prSet/>
      <dgm:spPr/>
      <dgm:t>
        <a:bodyPr/>
        <a:lstStyle/>
        <a:p>
          <a:endParaRPr lang="sl-SI"/>
        </a:p>
      </dgm:t>
    </dgm:pt>
    <dgm:pt modelId="{398E58C2-8FF2-4675-AFC4-17BB87371482}">
      <dgm:prSet/>
      <dgm:spPr/>
      <dgm:t>
        <a:bodyPr/>
        <a:lstStyle/>
        <a:p>
          <a:r>
            <a:rPr lang="sl-SI"/>
            <a:t>A</a:t>
          </a:r>
        </a:p>
      </dgm:t>
    </dgm:pt>
    <dgm:pt modelId="{1A3DECF1-F9B6-4A2D-AF42-22825227BC06}" type="parTrans" cxnId="{59E945A9-EC22-40FB-A912-CCBBF3DCC3E9}">
      <dgm:prSet/>
      <dgm:spPr/>
      <dgm:t>
        <a:bodyPr/>
        <a:lstStyle/>
        <a:p>
          <a:endParaRPr lang="sl-SI"/>
        </a:p>
      </dgm:t>
    </dgm:pt>
    <dgm:pt modelId="{65D510C1-8658-4666-A469-4609E264B983}" type="sibTrans" cxnId="{59E945A9-EC22-40FB-A912-CCBBF3DCC3E9}">
      <dgm:prSet/>
      <dgm:spPr/>
      <dgm:t>
        <a:bodyPr/>
        <a:lstStyle/>
        <a:p>
          <a:endParaRPr lang="sl-SI"/>
        </a:p>
      </dgm:t>
    </dgm:pt>
    <dgm:pt modelId="{17BF68AC-59FE-4C2B-A3D0-EA24B7BDF17C}">
      <dgm:prSet/>
      <dgm:spPr/>
      <dgm:t>
        <a:bodyPr/>
        <a:lstStyle/>
        <a:p>
          <a:r>
            <a:rPr lang="sl-SI"/>
            <a:t>D, E, F, G, H </a:t>
          </a:r>
        </a:p>
      </dgm:t>
    </dgm:pt>
    <dgm:pt modelId="{81563A32-5516-4976-979E-E582382D47D9}" type="sibTrans" cxnId="{510159CF-67D6-438B-B5C7-50EE0D9C7ECD}">
      <dgm:prSet/>
      <dgm:spPr/>
      <dgm:t>
        <a:bodyPr/>
        <a:lstStyle/>
        <a:p>
          <a:endParaRPr lang="sl-SI"/>
        </a:p>
      </dgm:t>
    </dgm:pt>
    <dgm:pt modelId="{F06DE331-5CCD-48E7-B607-B7D5A450FADA}" type="parTrans" cxnId="{510159CF-67D6-438B-B5C7-50EE0D9C7ECD}">
      <dgm:prSet/>
      <dgm:spPr/>
      <dgm:t>
        <a:bodyPr/>
        <a:lstStyle/>
        <a:p>
          <a:endParaRPr lang="sl-SI"/>
        </a:p>
      </dgm:t>
    </dgm:pt>
    <dgm:pt modelId="{39493233-954B-4265-8883-DB31BFC395E3}">
      <dgm:prSet/>
      <dgm:spPr/>
      <dgm:t>
        <a:bodyPr/>
        <a:lstStyle/>
        <a:p>
          <a:r>
            <a:rPr lang="sl-SI"/>
            <a:t>B</a:t>
          </a:r>
        </a:p>
      </dgm:t>
    </dgm:pt>
    <dgm:pt modelId="{338D5A87-8499-4C1C-AAD0-2472FC549A41}" type="sibTrans" cxnId="{B81C31C4-7AE8-4A5A-9A42-F8AB764D2990}">
      <dgm:prSet/>
      <dgm:spPr/>
      <dgm:t>
        <a:bodyPr/>
        <a:lstStyle/>
        <a:p>
          <a:endParaRPr lang="sl-SI"/>
        </a:p>
      </dgm:t>
    </dgm:pt>
    <dgm:pt modelId="{83EB7FE4-8CBA-49E4-A48B-03D6085C8AC1}" type="parTrans" cxnId="{B81C31C4-7AE8-4A5A-9A42-F8AB764D2990}">
      <dgm:prSet/>
      <dgm:spPr/>
      <dgm:t>
        <a:bodyPr/>
        <a:lstStyle/>
        <a:p>
          <a:endParaRPr lang="sl-SI"/>
        </a:p>
      </dgm:t>
    </dgm:pt>
    <dgm:pt modelId="{1A2EDA7D-5863-4B2C-B499-503E381D18FA}">
      <dgm:prSet/>
      <dgm:spPr/>
      <dgm:t>
        <a:bodyPr/>
        <a:lstStyle/>
        <a:p>
          <a:r>
            <a:rPr lang="sl-SI"/>
            <a:t>C</a:t>
          </a:r>
        </a:p>
      </dgm:t>
    </dgm:pt>
    <dgm:pt modelId="{1B16AB02-9FCD-4EEA-A0A8-74175F4F9C07}" type="sibTrans" cxnId="{C1B735FA-4E91-475A-A194-E426EEDD302C}">
      <dgm:prSet/>
      <dgm:spPr/>
      <dgm:t>
        <a:bodyPr/>
        <a:lstStyle/>
        <a:p>
          <a:endParaRPr lang="sl-SI"/>
        </a:p>
      </dgm:t>
    </dgm:pt>
    <dgm:pt modelId="{304CBB76-9BC2-40B0-8C8A-E950E0E2796E}" type="parTrans" cxnId="{C1B735FA-4E91-475A-A194-E426EEDD302C}">
      <dgm:prSet/>
      <dgm:spPr/>
      <dgm:t>
        <a:bodyPr/>
        <a:lstStyle/>
        <a:p>
          <a:endParaRPr lang="sl-SI"/>
        </a:p>
      </dgm:t>
    </dgm:pt>
    <dgm:pt modelId="{857B1BC7-70FE-456E-8EBF-90B8CA0F8E92}">
      <dgm:prSet/>
      <dgm:spPr/>
      <dgm:t>
        <a:bodyPr/>
        <a:lstStyle/>
        <a:p>
          <a:r>
            <a:rPr lang="sl-SI"/>
            <a:t>Ostalo</a:t>
          </a:r>
        </a:p>
      </dgm:t>
    </dgm:pt>
    <dgm:pt modelId="{553BA220-F21E-463F-9D0F-FA605C94CECF}" type="parTrans" cxnId="{6B53426F-CAC6-4665-B695-E12003640143}">
      <dgm:prSet/>
      <dgm:spPr/>
      <dgm:t>
        <a:bodyPr/>
        <a:lstStyle/>
        <a:p>
          <a:endParaRPr lang="sl-SI"/>
        </a:p>
      </dgm:t>
    </dgm:pt>
    <dgm:pt modelId="{1A537CB1-D72C-4C1A-9A69-72CB32F5BED7}" type="sibTrans" cxnId="{6B53426F-CAC6-4665-B695-E12003640143}">
      <dgm:prSet/>
      <dgm:spPr/>
      <dgm:t>
        <a:bodyPr/>
        <a:lstStyle/>
        <a:p>
          <a:endParaRPr lang="sl-SI"/>
        </a:p>
      </dgm:t>
    </dgm:pt>
    <dgm:pt modelId="{51DB646C-F6FF-47D3-AA00-C13F8549245B}">
      <dgm:prSet/>
      <dgm:spPr/>
      <dgm:t>
        <a:bodyPr/>
        <a:lstStyle/>
        <a:p>
          <a:r>
            <a:rPr lang="sl-SI" b="1" dirty="0"/>
            <a:t>Ali se klimatska naprava uporablja tudi za ogrevanje</a:t>
          </a:r>
        </a:p>
      </dgm:t>
    </dgm:pt>
    <dgm:pt modelId="{F5ECEC81-4E4C-48A9-AE15-E283ECB746C9}" type="parTrans" cxnId="{D190A8FC-77F8-423F-8959-20E8651C7465}">
      <dgm:prSet/>
      <dgm:spPr/>
      <dgm:t>
        <a:bodyPr/>
        <a:lstStyle/>
        <a:p>
          <a:endParaRPr lang="sl-SI"/>
        </a:p>
      </dgm:t>
    </dgm:pt>
    <dgm:pt modelId="{698AFD46-987A-407E-965D-DB4450527447}" type="sibTrans" cxnId="{D190A8FC-77F8-423F-8959-20E8651C7465}">
      <dgm:prSet/>
      <dgm:spPr/>
      <dgm:t>
        <a:bodyPr/>
        <a:lstStyle/>
        <a:p>
          <a:endParaRPr lang="sl-SI"/>
        </a:p>
      </dgm:t>
    </dgm:pt>
    <dgm:pt modelId="{194F2106-DCF3-4CC4-A5F8-A8E29CE512E1}">
      <dgm:prSet/>
      <dgm:spPr/>
      <dgm:t>
        <a:bodyPr/>
        <a:lstStyle/>
        <a:p>
          <a:r>
            <a:rPr lang="sl-SI"/>
            <a:t>DA/NE</a:t>
          </a:r>
        </a:p>
      </dgm:t>
    </dgm:pt>
    <dgm:pt modelId="{BB75C0A8-85E3-4590-86B4-5CE4654F9E74}" type="parTrans" cxnId="{29345861-55FD-4A97-A23E-1C275082625E}">
      <dgm:prSet/>
      <dgm:spPr/>
      <dgm:t>
        <a:bodyPr/>
        <a:lstStyle/>
        <a:p>
          <a:endParaRPr lang="sl-SI"/>
        </a:p>
      </dgm:t>
    </dgm:pt>
    <dgm:pt modelId="{88F5292C-CB31-410C-B334-717523B1BFB6}" type="sibTrans" cxnId="{29345861-55FD-4A97-A23E-1C275082625E}">
      <dgm:prSet/>
      <dgm:spPr/>
      <dgm:t>
        <a:bodyPr/>
        <a:lstStyle/>
        <a:p>
          <a:endParaRPr lang="sl-SI"/>
        </a:p>
      </dgm:t>
    </dgm:pt>
    <dgm:pt modelId="{2D277160-1E4A-4F37-93BB-70270B08BDF0}">
      <dgm:prSet custT="1"/>
      <dgm:spPr/>
      <dgm:t>
        <a:bodyPr/>
        <a:lstStyle/>
        <a:p>
          <a:r>
            <a:rPr lang="sl-SI" sz="800"/>
            <a:t>Proizvodnja energije iz obnovljivih virov v </a:t>
          </a:r>
          <a:r>
            <a:rPr lang="sl-SI" sz="800" b="0" i="0"/>
            <a:t>kWh/year</a:t>
          </a:r>
          <a:endParaRPr lang="sl-SI" sz="800" b="0"/>
        </a:p>
      </dgm:t>
    </dgm:pt>
    <dgm:pt modelId="{AE04B9D1-7F97-4151-811E-F83DB3A1FDC7}" type="parTrans" cxnId="{D9E2E0C5-713F-47F2-94CD-C391CF64D8EF}">
      <dgm:prSet/>
      <dgm:spPr/>
      <dgm:t>
        <a:bodyPr/>
        <a:lstStyle/>
        <a:p>
          <a:endParaRPr lang="sl-SI"/>
        </a:p>
      </dgm:t>
    </dgm:pt>
    <dgm:pt modelId="{0D5DF546-06EA-48C3-AADF-98183342D197}" type="sibTrans" cxnId="{D9E2E0C5-713F-47F2-94CD-C391CF64D8EF}">
      <dgm:prSet/>
      <dgm:spPr/>
      <dgm:t>
        <a:bodyPr/>
        <a:lstStyle/>
        <a:p>
          <a:endParaRPr lang="sl-SI"/>
        </a:p>
      </dgm:t>
    </dgm:pt>
    <dgm:pt modelId="{0B5459C0-00CA-4372-89E8-D37D77AFC736}" type="pres">
      <dgm:prSet presAssocID="{0792C698-01CA-472E-950D-51F9591D5967}" presName="Name0" presStyleCnt="0">
        <dgm:presLayoutVars>
          <dgm:dir/>
          <dgm:animLvl val="lvl"/>
          <dgm:resizeHandles val="exact"/>
        </dgm:presLayoutVars>
      </dgm:prSet>
      <dgm:spPr/>
    </dgm:pt>
    <dgm:pt modelId="{68F88E68-E010-49A3-9222-22DB993A7B09}" type="pres">
      <dgm:prSet presAssocID="{27857F77-63A9-4850-836D-05192F21E2FC}" presName="linNode" presStyleCnt="0"/>
      <dgm:spPr/>
    </dgm:pt>
    <dgm:pt modelId="{4F3103D8-F6EA-4113-9D22-F995D226426F}" type="pres">
      <dgm:prSet presAssocID="{27857F77-63A9-4850-836D-05192F21E2FC}" presName="parentText" presStyleLbl="node1" presStyleIdx="0" presStyleCnt="10" custScaleY="43337">
        <dgm:presLayoutVars>
          <dgm:chMax val="1"/>
          <dgm:bulletEnabled val="1"/>
        </dgm:presLayoutVars>
      </dgm:prSet>
      <dgm:spPr/>
    </dgm:pt>
    <dgm:pt modelId="{93CEB5E8-BD49-47C9-8111-C2E5940C21F7}" type="pres">
      <dgm:prSet presAssocID="{27857F77-63A9-4850-836D-05192F21E2FC}" presName="descendantText" presStyleLbl="alignAccFollowNode1" presStyleIdx="0" presStyleCnt="10" custScaleY="54563">
        <dgm:presLayoutVars>
          <dgm:bulletEnabled val="1"/>
        </dgm:presLayoutVars>
      </dgm:prSet>
      <dgm:spPr/>
    </dgm:pt>
    <dgm:pt modelId="{E27939A4-BE3C-48E9-9077-6A07704F58D7}" type="pres">
      <dgm:prSet presAssocID="{CC1F4474-560B-4F94-BEA1-BAF367F9421C}" presName="sp" presStyleCnt="0"/>
      <dgm:spPr/>
    </dgm:pt>
    <dgm:pt modelId="{45B07785-B530-42F4-8063-BF5D12FD3C2D}" type="pres">
      <dgm:prSet presAssocID="{80086800-98CE-400F-9DAD-BB3D85E251B0}" presName="linNode" presStyleCnt="0"/>
      <dgm:spPr/>
    </dgm:pt>
    <dgm:pt modelId="{50DA88A6-A998-4266-815A-5A3D434D37B6}" type="pres">
      <dgm:prSet presAssocID="{80086800-98CE-400F-9DAD-BB3D85E251B0}" presName="parentText" presStyleLbl="node1" presStyleIdx="1" presStyleCnt="10" custScaleY="50275">
        <dgm:presLayoutVars>
          <dgm:chMax val="1"/>
          <dgm:bulletEnabled val="1"/>
        </dgm:presLayoutVars>
      </dgm:prSet>
      <dgm:spPr/>
    </dgm:pt>
    <dgm:pt modelId="{C3AC3067-7AE3-436C-8183-035777957537}" type="pres">
      <dgm:prSet presAssocID="{80086800-98CE-400F-9DAD-BB3D85E251B0}" presName="descendantText" presStyleLbl="alignAccFollowNode1" presStyleIdx="1" presStyleCnt="10" custScaleY="44500">
        <dgm:presLayoutVars>
          <dgm:bulletEnabled val="1"/>
        </dgm:presLayoutVars>
      </dgm:prSet>
      <dgm:spPr/>
    </dgm:pt>
    <dgm:pt modelId="{1B2A10BF-35BB-4C16-BDA0-3E3F540DDE31}" type="pres">
      <dgm:prSet presAssocID="{9AD784D5-BEC4-41CD-8E01-75E0FCA5A823}" presName="sp" presStyleCnt="0"/>
      <dgm:spPr/>
    </dgm:pt>
    <dgm:pt modelId="{75F57F3F-EA45-42CC-A920-29E8700F1C6F}" type="pres">
      <dgm:prSet presAssocID="{683703F4-3B56-431B-BC9C-0A04BA475C05}" presName="linNode" presStyleCnt="0"/>
      <dgm:spPr/>
    </dgm:pt>
    <dgm:pt modelId="{7EBC1530-0B83-44D6-94B9-6E894E41449B}" type="pres">
      <dgm:prSet presAssocID="{683703F4-3B56-431B-BC9C-0A04BA475C05}" presName="parentText" presStyleLbl="node1" presStyleIdx="2" presStyleCnt="10" custScaleY="72318">
        <dgm:presLayoutVars>
          <dgm:chMax val="1"/>
          <dgm:bulletEnabled val="1"/>
        </dgm:presLayoutVars>
      </dgm:prSet>
      <dgm:spPr/>
    </dgm:pt>
    <dgm:pt modelId="{3446EB98-0C2B-4924-A54B-EEBF14A66AFC}" type="pres">
      <dgm:prSet presAssocID="{683703F4-3B56-431B-BC9C-0A04BA475C05}" presName="descendantText" presStyleLbl="alignAccFollowNode1" presStyleIdx="2" presStyleCnt="10" custScaleY="86110">
        <dgm:presLayoutVars>
          <dgm:bulletEnabled val="1"/>
        </dgm:presLayoutVars>
      </dgm:prSet>
      <dgm:spPr/>
    </dgm:pt>
    <dgm:pt modelId="{0C5E0B1E-A131-4738-A4F9-02A7D8F08ECD}" type="pres">
      <dgm:prSet presAssocID="{D78DCC03-91A7-48E6-9CA2-0EC9A320FB70}" presName="sp" presStyleCnt="0"/>
      <dgm:spPr/>
    </dgm:pt>
    <dgm:pt modelId="{7B3EF2E1-7620-41E0-9451-DA5F07F0B26A}" type="pres">
      <dgm:prSet presAssocID="{C3BAE8DF-FE77-4711-ABDE-F2115DCA05CE}" presName="linNode" presStyleCnt="0"/>
      <dgm:spPr/>
    </dgm:pt>
    <dgm:pt modelId="{0C416C2C-D66F-459F-91ED-34CB141140AD}" type="pres">
      <dgm:prSet presAssocID="{C3BAE8DF-FE77-4711-ABDE-F2115DCA05CE}" presName="parentText" presStyleLbl="node1" presStyleIdx="3" presStyleCnt="10" custScaleY="81479">
        <dgm:presLayoutVars>
          <dgm:chMax val="1"/>
          <dgm:bulletEnabled val="1"/>
        </dgm:presLayoutVars>
      </dgm:prSet>
      <dgm:spPr/>
    </dgm:pt>
    <dgm:pt modelId="{55008F07-2E45-492A-95AF-F8A244DA26B8}" type="pres">
      <dgm:prSet presAssocID="{C3BAE8DF-FE77-4711-ABDE-F2115DCA05CE}" presName="descendantText" presStyleLbl="alignAccFollowNode1" presStyleIdx="3" presStyleCnt="10" custScaleY="84256" custLinFactNeighborX="1852" custLinFactNeighborY="0">
        <dgm:presLayoutVars>
          <dgm:bulletEnabled val="1"/>
        </dgm:presLayoutVars>
      </dgm:prSet>
      <dgm:spPr/>
    </dgm:pt>
    <dgm:pt modelId="{F0BE0664-6886-4B62-8D31-E1B3EFAB73C7}" type="pres">
      <dgm:prSet presAssocID="{E3242202-1C5A-4A7F-BABA-0EEDC9B0C870}" presName="sp" presStyleCnt="0"/>
      <dgm:spPr/>
    </dgm:pt>
    <dgm:pt modelId="{F844AD1A-A9EB-4F11-BA98-B9B7600A3AF8}" type="pres">
      <dgm:prSet presAssocID="{AE8A9466-2770-4485-AA26-163E06842CE1}" presName="linNode" presStyleCnt="0"/>
      <dgm:spPr/>
    </dgm:pt>
    <dgm:pt modelId="{EC0EA46C-41EC-4512-8AF2-477183933C4B}" type="pres">
      <dgm:prSet presAssocID="{AE8A9466-2770-4485-AA26-163E06842CE1}" presName="parentText" presStyleLbl="node1" presStyleIdx="4" presStyleCnt="10" custScaleY="88753">
        <dgm:presLayoutVars>
          <dgm:chMax val="1"/>
          <dgm:bulletEnabled val="1"/>
        </dgm:presLayoutVars>
      </dgm:prSet>
      <dgm:spPr/>
    </dgm:pt>
    <dgm:pt modelId="{8C853430-9F7E-48F2-903C-A81F0EC3694D}" type="pres">
      <dgm:prSet presAssocID="{AE8A9466-2770-4485-AA26-163E06842CE1}" presName="descendantText" presStyleLbl="alignAccFollowNode1" presStyleIdx="4" presStyleCnt="10" custScaleY="92214">
        <dgm:presLayoutVars>
          <dgm:bulletEnabled val="1"/>
        </dgm:presLayoutVars>
      </dgm:prSet>
      <dgm:spPr/>
    </dgm:pt>
    <dgm:pt modelId="{1BA6684B-0182-4D4F-8D95-3923057C556D}" type="pres">
      <dgm:prSet presAssocID="{35EBBFB1-627C-407F-A23D-F886D572CAE3}" presName="sp" presStyleCnt="0"/>
      <dgm:spPr/>
    </dgm:pt>
    <dgm:pt modelId="{A3ADF232-018F-41E2-A847-7A305A574634}" type="pres">
      <dgm:prSet presAssocID="{36FDB4BB-C53D-4E9F-A298-2C97A36DBFB2}" presName="linNode" presStyleCnt="0"/>
      <dgm:spPr/>
    </dgm:pt>
    <dgm:pt modelId="{46FC0634-DDEE-49DC-B7E0-DBF47EF2CA18}" type="pres">
      <dgm:prSet presAssocID="{36FDB4BB-C53D-4E9F-A298-2C97A36DBFB2}" presName="parentText" presStyleLbl="node1" presStyleIdx="5" presStyleCnt="10" custScaleY="56365">
        <dgm:presLayoutVars>
          <dgm:chMax val="1"/>
          <dgm:bulletEnabled val="1"/>
        </dgm:presLayoutVars>
      </dgm:prSet>
      <dgm:spPr/>
    </dgm:pt>
    <dgm:pt modelId="{A23F40CB-F2EB-4D44-9E68-1853F43DF94A}" type="pres">
      <dgm:prSet presAssocID="{36FDB4BB-C53D-4E9F-A298-2C97A36DBFB2}" presName="descendantText" presStyleLbl="alignAccFollowNode1" presStyleIdx="5" presStyleCnt="10" custScaleY="29023">
        <dgm:presLayoutVars>
          <dgm:bulletEnabled val="1"/>
        </dgm:presLayoutVars>
      </dgm:prSet>
      <dgm:spPr/>
    </dgm:pt>
    <dgm:pt modelId="{D43FD79B-F688-4F79-99C0-E7AEC662C5DB}" type="pres">
      <dgm:prSet presAssocID="{DA7FA978-2D19-41D5-912C-D2492B9E24CA}" presName="sp" presStyleCnt="0"/>
      <dgm:spPr/>
    </dgm:pt>
    <dgm:pt modelId="{D3D40FE3-3E2D-4BC4-BA56-0CFA4D75033C}" type="pres">
      <dgm:prSet presAssocID="{A448B56C-DBF5-4622-A278-54F0DB939B75}" presName="linNode" presStyleCnt="0"/>
      <dgm:spPr/>
    </dgm:pt>
    <dgm:pt modelId="{7C04C658-BAB2-48F3-B289-B9ECAB716CAA}" type="pres">
      <dgm:prSet presAssocID="{A448B56C-DBF5-4622-A278-54F0DB939B75}" presName="parentText" presStyleLbl="node1" presStyleIdx="6" presStyleCnt="10" custScaleY="87369">
        <dgm:presLayoutVars>
          <dgm:chMax val="1"/>
          <dgm:bulletEnabled val="1"/>
        </dgm:presLayoutVars>
      </dgm:prSet>
      <dgm:spPr/>
    </dgm:pt>
    <dgm:pt modelId="{5A65C2A1-6FCD-4B06-A38D-5C48A026996E}" type="pres">
      <dgm:prSet presAssocID="{A448B56C-DBF5-4622-A278-54F0DB939B75}" presName="descendantText" presStyleLbl="alignAccFollowNode1" presStyleIdx="6" presStyleCnt="10" custScaleY="95445">
        <dgm:presLayoutVars>
          <dgm:bulletEnabled val="1"/>
        </dgm:presLayoutVars>
      </dgm:prSet>
      <dgm:spPr/>
    </dgm:pt>
    <dgm:pt modelId="{DA04EDE2-6FC4-46EC-9033-A5AEDD42F0CD}" type="pres">
      <dgm:prSet presAssocID="{7A284745-C782-48F1-A0B1-23778308F876}" presName="sp" presStyleCnt="0"/>
      <dgm:spPr/>
    </dgm:pt>
    <dgm:pt modelId="{F33CA42E-E35E-4A08-8019-7CCA4812126F}" type="pres">
      <dgm:prSet presAssocID="{51DB646C-F6FF-47D3-AA00-C13F8549245B}" presName="linNode" presStyleCnt="0"/>
      <dgm:spPr/>
    </dgm:pt>
    <dgm:pt modelId="{EA162E80-59D6-4406-9EDE-B07494F923E5}" type="pres">
      <dgm:prSet presAssocID="{51DB646C-F6FF-47D3-AA00-C13F8549245B}" presName="parentText" presStyleLbl="node1" presStyleIdx="7" presStyleCnt="10" custScaleY="57242">
        <dgm:presLayoutVars>
          <dgm:chMax val="1"/>
          <dgm:bulletEnabled val="1"/>
        </dgm:presLayoutVars>
      </dgm:prSet>
      <dgm:spPr/>
    </dgm:pt>
    <dgm:pt modelId="{EEB48256-1CDC-478F-9AA9-00E4C9F931A4}" type="pres">
      <dgm:prSet presAssocID="{51DB646C-F6FF-47D3-AA00-C13F8549245B}" presName="descendantText" presStyleLbl="alignAccFollowNode1" presStyleIdx="7" presStyleCnt="10" custScaleY="40661">
        <dgm:presLayoutVars>
          <dgm:bulletEnabled val="1"/>
        </dgm:presLayoutVars>
      </dgm:prSet>
      <dgm:spPr/>
    </dgm:pt>
    <dgm:pt modelId="{633D4AEA-16FB-438E-BF2F-C0DF9D9D18A5}" type="pres">
      <dgm:prSet presAssocID="{698AFD46-987A-407E-965D-DB4450527447}" presName="sp" presStyleCnt="0"/>
      <dgm:spPr/>
    </dgm:pt>
    <dgm:pt modelId="{4ABA376B-4178-4304-B90D-134D44B5EBE6}" type="pres">
      <dgm:prSet presAssocID="{2DB8F66F-D76E-4F13-95E6-034A75110F83}" presName="linNode" presStyleCnt="0"/>
      <dgm:spPr/>
    </dgm:pt>
    <dgm:pt modelId="{7103CB86-C6FE-4680-937A-D58DDA0FF35E}" type="pres">
      <dgm:prSet presAssocID="{2DB8F66F-D76E-4F13-95E6-034A75110F83}" presName="parentText" presStyleLbl="node1" presStyleIdx="8" presStyleCnt="10" custScaleY="89509">
        <dgm:presLayoutVars>
          <dgm:chMax val="1"/>
          <dgm:bulletEnabled val="1"/>
        </dgm:presLayoutVars>
      </dgm:prSet>
      <dgm:spPr/>
    </dgm:pt>
    <dgm:pt modelId="{22DBC66B-C1E0-43DF-8C92-BA9CE4851B6E}" type="pres">
      <dgm:prSet presAssocID="{2DB8F66F-D76E-4F13-95E6-034A75110F83}" presName="descendantText" presStyleLbl="alignAccFollowNode1" presStyleIdx="8" presStyleCnt="10" custScaleY="103047">
        <dgm:presLayoutVars>
          <dgm:bulletEnabled val="1"/>
        </dgm:presLayoutVars>
      </dgm:prSet>
      <dgm:spPr/>
    </dgm:pt>
    <dgm:pt modelId="{AE0262E8-231C-4CE4-AC12-62F7FCC7E173}" type="pres">
      <dgm:prSet presAssocID="{F5C69EC1-A223-4DAD-84DB-6BF45B0AA06E}" presName="sp" presStyleCnt="0"/>
      <dgm:spPr/>
    </dgm:pt>
    <dgm:pt modelId="{682364B2-E93F-441E-B656-7D2E0E80AD31}" type="pres">
      <dgm:prSet presAssocID="{A85E0DD1-C6C4-4D83-BF03-D00024E172CB}" presName="linNode" presStyleCnt="0"/>
      <dgm:spPr/>
    </dgm:pt>
    <dgm:pt modelId="{1777ED9B-E174-40F0-B13B-C3EEC12AA822}" type="pres">
      <dgm:prSet presAssocID="{A85E0DD1-C6C4-4D83-BF03-D00024E172CB}" presName="parentText" presStyleLbl="node1" presStyleIdx="9" presStyleCnt="10" custScaleY="45377">
        <dgm:presLayoutVars>
          <dgm:chMax val="1"/>
          <dgm:bulletEnabled val="1"/>
        </dgm:presLayoutVars>
      </dgm:prSet>
      <dgm:spPr/>
    </dgm:pt>
    <dgm:pt modelId="{2EECC300-BF5A-48AB-84B9-AA7FFBA14884}" type="pres">
      <dgm:prSet presAssocID="{A85E0DD1-C6C4-4D83-BF03-D00024E172CB}" presName="descendantText" presStyleLbl="alignAccFollowNode1" presStyleIdx="9" presStyleCnt="10" custScaleY="43787">
        <dgm:presLayoutVars>
          <dgm:bulletEnabled val="1"/>
        </dgm:presLayoutVars>
      </dgm:prSet>
      <dgm:spPr/>
    </dgm:pt>
  </dgm:ptLst>
  <dgm:cxnLst>
    <dgm:cxn modelId="{C2701D04-A726-4C8C-AAB1-E39DE8B38C21}" type="presOf" srcId="{398E58C2-8FF2-4675-AFC4-17BB87371482}" destId="{8C853430-9F7E-48F2-903C-A81F0EC3694D}" srcOrd="0" destOrd="1" presId="urn:microsoft.com/office/officeart/2005/8/layout/vList5"/>
    <dgm:cxn modelId="{7EF06E07-23E7-4C1D-9468-98B5A134C124}" type="presOf" srcId="{857B1BC7-70FE-456E-8EBF-90B8CA0F8E92}" destId="{8C853430-9F7E-48F2-903C-A81F0EC3694D}" srcOrd="0" destOrd="5" presId="urn:microsoft.com/office/officeart/2005/8/layout/vList5"/>
    <dgm:cxn modelId="{614F260B-6981-4D2A-A948-3BC630A1D0CD}" srcId="{2DB8F66F-D76E-4F13-95E6-034A75110F83}" destId="{90310D76-240A-4825-A6D5-CEF91D511C51}" srcOrd="4" destOrd="0" parTransId="{7894766B-9A9B-417C-B036-95FC78189FC6}" sibTransId="{2BC371E7-7241-4E80-A421-F1497EE80C4F}"/>
    <dgm:cxn modelId="{2C854612-54EE-4EDE-860D-CEE8C1E5DADF}" srcId="{AE8A9466-2770-4485-AA26-163E06842CE1}" destId="{1D14DECC-1754-429F-AB74-577A5F8EAB3B}" srcOrd="0" destOrd="0" parTransId="{9920E9E9-E7A1-4A67-827A-8F890EB314EB}" sibTransId="{F6D9F47A-85EE-4067-AAD4-4A7E09125E4B}"/>
    <dgm:cxn modelId="{F9C5C814-5A70-4AC0-B6FA-A6E299E251E2}" type="presOf" srcId="{AE8A9466-2770-4485-AA26-163E06842CE1}" destId="{EC0EA46C-41EC-4512-8AF2-477183933C4B}" srcOrd="0" destOrd="0" presId="urn:microsoft.com/office/officeart/2005/8/layout/vList5"/>
    <dgm:cxn modelId="{63EAFA14-0E98-45C2-8640-B9A820A7BFFA}" srcId="{2DB8F66F-D76E-4F13-95E6-034A75110F83}" destId="{51DA6914-3C38-4C7E-9534-9BA70E046F31}" srcOrd="1" destOrd="0" parTransId="{7EBD0090-D878-4E7E-9CE7-D436AAC9CE1A}" sibTransId="{67E8CC79-826F-44B8-B5F3-285644C3BA38}"/>
    <dgm:cxn modelId="{C29FB219-0D5D-431B-8ADD-DD18D3C437D4}" type="presOf" srcId="{36FDB4BB-C53D-4E9F-A298-2C97A36DBFB2}" destId="{46FC0634-DDEE-49DC-B7E0-DBF47EF2CA18}" srcOrd="0" destOrd="0" presId="urn:microsoft.com/office/officeart/2005/8/layout/vList5"/>
    <dgm:cxn modelId="{ECF40022-946E-419B-BBA5-4FA375FAD9DD}" type="presOf" srcId="{2B5F5839-2386-40C9-B265-B4E75404B35F}" destId="{C3AC3067-7AE3-436C-8183-035777957537}" srcOrd="0" destOrd="0" presId="urn:microsoft.com/office/officeart/2005/8/layout/vList5"/>
    <dgm:cxn modelId="{1CFA1B24-5B4F-49DE-82C0-4D6223204962}" type="presOf" srcId="{BC1957A3-B084-4ADE-8F4D-CB0EA6874006}" destId="{55008F07-2E45-492A-95AF-F8A244DA26B8}" srcOrd="0" destOrd="2" presId="urn:microsoft.com/office/officeart/2005/8/layout/vList5"/>
    <dgm:cxn modelId="{86239625-1F1D-4F80-BB7F-BEAFCEEAB74B}" srcId="{A448B56C-DBF5-4622-A278-54F0DB939B75}" destId="{564D7203-2213-4737-9CC1-564863982E40}" srcOrd="0" destOrd="0" parTransId="{C8EB8871-D468-44AD-8A3C-5655BE5148EC}" sibTransId="{90B267F6-6D33-4DA6-A961-78F9D75E8C81}"/>
    <dgm:cxn modelId="{42F8ED25-C9B9-4540-BCED-3E4A10E0DFF2}" srcId="{36FDB4BB-C53D-4E9F-A298-2C97A36DBFB2}" destId="{E635C32A-9683-4879-9449-BC0D7752ABFB}" srcOrd="0" destOrd="0" parTransId="{AA3E75AC-7AFE-460F-A36E-1331BF980667}" sibTransId="{9BF6D831-837D-4D9D-AAB1-301BB48895D0}"/>
    <dgm:cxn modelId="{56271E26-4161-4A74-ADEC-742E1C2F3C15}" srcId="{0792C698-01CA-472E-950D-51F9591D5967}" destId="{27857F77-63A9-4850-836D-05192F21E2FC}" srcOrd="0" destOrd="0" parTransId="{868AEC0D-C4AC-4FFC-A8F1-5C7165C9E45A}" sibTransId="{CC1F4474-560B-4F94-BEA1-BAF367F9421C}"/>
    <dgm:cxn modelId="{FBCF4727-2998-4D1E-A7B6-8B4CB3E71886}" srcId="{C3BAE8DF-FE77-4711-ABDE-F2115DCA05CE}" destId="{3E9A8CAB-2307-4A71-A17E-446BA406DB8C}" srcOrd="0" destOrd="0" parTransId="{F7FBBD54-01B4-4420-A346-072C8974EFC0}" sibTransId="{A172D863-5D3A-4594-B551-23FBC3BFD764}"/>
    <dgm:cxn modelId="{863B053A-78DA-4415-9E84-252429920653}" type="presOf" srcId="{A448B56C-DBF5-4622-A278-54F0DB939B75}" destId="{7C04C658-BAB2-48F3-B289-B9ECAB716CAA}" srcOrd="0" destOrd="0" presId="urn:microsoft.com/office/officeart/2005/8/layout/vList5"/>
    <dgm:cxn modelId="{E229C63E-B254-43A7-9324-F06B07DA1930}" type="presOf" srcId="{A85E0DD1-C6C4-4D83-BF03-D00024E172CB}" destId="{1777ED9B-E174-40F0-B13B-C3EEC12AA822}" srcOrd="0" destOrd="0" presId="urn:microsoft.com/office/officeart/2005/8/layout/vList5"/>
    <dgm:cxn modelId="{68771340-0F29-4542-803D-305FF7AD39AA}" type="presOf" srcId="{CCA53E91-27AF-409F-A621-317A88E604F5}" destId="{93CEB5E8-BD49-47C9-8111-C2E5940C21F7}" srcOrd="0" destOrd="0" presId="urn:microsoft.com/office/officeart/2005/8/layout/vList5"/>
    <dgm:cxn modelId="{62A64B40-9710-4F22-A7B3-53F8F3928BF8}" srcId="{0792C698-01CA-472E-950D-51F9591D5967}" destId="{A448B56C-DBF5-4622-A278-54F0DB939B75}" srcOrd="6" destOrd="0" parTransId="{F3FE283A-A27A-41B6-B5E7-0DF643EFD4FC}" sibTransId="{7A284745-C782-48F1-A0B1-23778308F876}"/>
    <dgm:cxn modelId="{8DE4D05F-2A02-4C27-A8A6-8A2825C00B38}" srcId="{0792C698-01CA-472E-950D-51F9591D5967}" destId="{A85E0DD1-C6C4-4D83-BF03-D00024E172CB}" srcOrd="9" destOrd="0" parTransId="{FE7F67DC-2E53-41F6-A6BE-92B3C307F341}" sibTransId="{4A06D066-1645-4BE5-B4EC-A4A827EDBC95}"/>
    <dgm:cxn modelId="{29345861-55FD-4A97-A23E-1C275082625E}" srcId="{51DB646C-F6FF-47D3-AA00-C13F8549245B}" destId="{194F2106-DCF3-4CC4-A5F8-A8E29CE512E1}" srcOrd="0" destOrd="0" parTransId="{BB75C0A8-85E3-4590-86B4-5CE4654F9E74}" sibTransId="{88F5292C-CB31-410C-B334-717523B1BFB6}"/>
    <dgm:cxn modelId="{AE220F43-659F-45D7-A2B6-EBF041F96E7A}" type="presOf" srcId="{564D7203-2213-4737-9CC1-564863982E40}" destId="{5A65C2A1-6FCD-4B06-A38D-5C48A026996E}" srcOrd="0" destOrd="0" presId="urn:microsoft.com/office/officeart/2005/8/layout/vList5"/>
    <dgm:cxn modelId="{82C01C43-2173-4FD4-AAF0-4968ADCD4CF9}" srcId="{683703F4-3B56-431B-BC9C-0A04BA475C05}" destId="{BB8C102C-105D-4BBA-B043-24C194BCF390}" srcOrd="0" destOrd="0" parTransId="{2F29F0AE-9F30-496E-B9F2-9E64C3203AFF}" sibTransId="{0F05E1BF-132D-4077-9857-82A19CAA371F}"/>
    <dgm:cxn modelId="{1A34A063-2419-4107-A698-EE7E0D31E314}" type="presOf" srcId="{6D61315A-0F21-4731-B272-1E899159C88E}" destId="{22DBC66B-C1E0-43DF-8C92-BA9CE4851B6E}" srcOrd="0" destOrd="2" presId="urn:microsoft.com/office/officeart/2005/8/layout/vList5"/>
    <dgm:cxn modelId="{E6F2A644-FBC8-4E9C-8CB7-BCF92A4240FE}" srcId="{0792C698-01CA-472E-950D-51F9591D5967}" destId="{36FDB4BB-C53D-4E9F-A298-2C97A36DBFB2}" srcOrd="5" destOrd="0" parTransId="{1214EBF9-AFCF-428B-ACA1-35850F54BFE6}" sibTransId="{DA7FA978-2D19-41D5-912C-D2492B9E24CA}"/>
    <dgm:cxn modelId="{E3F6F369-9814-40E1-B56F-D54E048368E8}" srcId="{0792C698-01CA-472E-950D-51F9591D5967}" destId="{80086800-98CE-400F-9DAD-BB3D85E251B0}" srcOrd="1" destOrd="0" parTransId="{BE4EB824-0BED-4E87-88CE-B22ACDB96463}" sibTransId="{9AD784D5-BEC4-41CD-8E01-75E0FCA5A823}"/>
    <dgm:cxn modelId="{D7F48F6C-E9FD-4CAA-902A-256A69807E0B}" srcId="{2DB8F66F-D76E-4F13-95E6-034A75110F83}" destId="{88B56C4E-4064-4A6A-90D6-E81BB0A5E280}" srcOrd="0" destOrd="0" parTransId="{E7BD68A4-2E5E-47D7-B707-165A2951ED5B}" sibTransId="{2451FD04-E14C-4E5E-9882-3983A63BB78B}"/>
    <dgm:cxn modelId="{88AF1B6E-AEA0-449A-ADBA-94CE65AB16E3}" type="presOf" srcId="{C3BAE8DF-FE77-4711-ABDE-F2115DCA05CE}" destId="{0C416C2C-D66F-459F-91ED-34CB141140AD}" srcOrd="0" destOrd="0" presId="urn:microsoft.com/office/officeart/2005/8/layout/vList5"/>
    <dgm:cxn modelId="{6B53426F-CAC6-4665-B695-E12003640143}" srcId="{1D14DECC-1754-429F-AB74-577A5F8EAB3B}" destId="{857B1BC7-70FE-456E-8EBF-90B8CA0F8E92}" srcOrd="4" destOrd="0" parTransId="{553BA220-F21E-463F-9D0F-FA605C94CECF}" sibTransId="{1A537CB1-D72C-4C1A-9A69-72CB32F5BED7}"/>
    <dgm:cxn modelId="{FE8A6D4F-DD4D-461C-BDEA-E2BD43B3851F}" type="presOf" srcId="{51DB646C-F6FF-47D3-AA00-C13F8549245B}" destId="{EA162E80-59D6-4406-9EDE-B07494F923E5}" srcOrd="0" destOrd="0" presId="urn:microsoft.com/office/officeart/2005/8/layout/vList5"/>
    <dgm:cxn modelId="{31C2BF70-108B-4A19-A713-EE66664A3E82}" type="presOf" srcId="{90310D76-240A-4825-A6D5-CEF91D511C51}" destId="{22DBC66B-C1E0-43DF-8C92-BA9CE4851B6E}" srcOrd="0" destOrd="4" presId="urn:microsoft.com/office/officeart/2005/8/layout/vList5"/>
    <dgm:cxn modelId="{C722FA71-9ABF-4E78-BA98-CDAC54B75584}" srcId="{0792C698-01CA-472E-950D-51F9591D5967}" destId="{C3BAE8DF-FE77-4711-ABDE-F2115DCA05CE}" srcOrd="3" destOrd="0" parTransId="{A9AF79C2-1544-4197-9C1A-74BEC79528DC}" sibTransId="{E3242202-1C5A-4A7F-BABA-0EEDC9B0C870}"/>
    <dgm:cxn modelId="{3EF40752-6176-4523-8901-9402D27332BD}" srcId="{A448B56C-DBF5-4622-A278-54F0DB939B75}" destId="{B2B5C33F-0130-4174-BE6A-833ABD8F9D8D}" srcOrd="1" destOrd="0" parTransId="{3E338A08-C6DB-456D-8BE2-88586F7BE3FC}" sibTransId="{85883341-8590-42C9-B105-1D32A5D70EA9}"/>
    <dgm:cxn modelId="{8BCD6656-FF6D-4173-80CC-0883D5FFC893}" type="presOf" srcId="{39493233-954B-4265-8883-DB31BFC395E3}" destId="{8C853430-9F7E-48F2-903C-A81F0EC3694D}" srcOrd="0" destOrd="2" presId="urn:microsoft.com/office/officeart/2005/8/layout/vList5"/>
    <dgm:cxn modelId="{D5952380-3551-4E37-89CE-3CF87D7BCF85}" type="presOf" srcId="{B2B5C33F-0130-4174-BE6A-833ABD8F9D8D}" destId="{5A65C2A1-6FCD-4B06-A38D-5C48A026996E}" srcOrd="0" destOrd="1" presId="urn:microsoft.com/office/officeart/2005/8/layout/vList5"/>
    <dgm:cxn modelId="{D2AC3985-2C2E-4BA6-B426-2DE87C661730}" type="presOf" srcId="{194F2106-DCF3-4CC4-A5F8-A8E29CE512E1}" destId="{EEB48256-1CDC-478F-9AA9-00E4C9F931A4}" srcOrd="0" destOrd="0" presId="urn:microsoft.com/office/officeart/2005/8/layout/vList5"/>
    <dgm:cxn modelId="{E2490789-2EC2-4E8D-A4AF-CF8E6E8CDD59}" type="presOf" srcId="{0792C698-01CA-472E-950D-51F9591D5967}" destId="{0B5459C0-00CA-4372-89E8-D37D77AFC736}" srcOrd="0" destOrd="0" presId="urn:microsoft.com/office/officeart/2005/8/layout/vList5"/>
    <dgm:cxn modelId="{5D643C8C-55F2-46C6-AAED-C997FB749931}" type="presOf" srcId="{88B56C4E-4064-4A6A-90D6-E81BB0A5E280}" destId="{22DBC66B-C1E0-43DF-8C92-BA9CE4851B6E}" srcOrd="0" destOrd="0" presId="urn:microsoft.com/office/officeart/2005/8/layout/vList5"/>
    <dgm:cxn modelId="{97275B8D-3C2A-4B88-B431-757425358D5F}" srcId="{A448B56C-DBF5-4622-A278-54F0DB939B75}" destId="{62DF5E89-B433-49C8-B08F-CE6904BCF21F}" srcOrd="2" destOrd="0" parTransId="{CC0A95D3-E201-4B2C-953B-23939B621F0E}" sibTransId="{AB11A90E-D363-42DE-83AE-B05D18D8CAD2}"/>
    <dgm:cxn modelId="{C420358F-302F-468F-B8C3-9FC8838948D9}" srcId="{80086800-98CE-400F-9DAD-BB3D85E251B0}" destId="{2B5F5839-2386-40C9-B265-B4E75404B35F}" srcOrd="0" destOrd="0" parTransId="{9FF377D0-12B1-40A8-97E9-CD19101AFD64}" sibTransId="{B4A3F896-D794-422F-8C4A-F6FD9AC1CC11}"/>
    <dgm:cxn modelId="{313BE498-AE6F-4171-8DEA-22F65C13E0E4}" type="presOf" srcId="{32E42CD9-5DA6-43D2-9457-7ACA2753D5EA}" destId="{2EECC300-BF5A-48AB-84B9-AA7FFBA14884}" srcOrd="0" destOrd="0" presId="urn:microsoft.com/office/officeart/2005/8/layout/vList5"/>
    <dgm:cxn modelId="{02EDE899-FEEE-4CE1-8D67-7EB3EC776DEE}" type="presOf" srcId="{1D14DECC-1754-429F-AB74-577A5F8EAB3B}" destId="{8C853430-9F7E-48F2-903C-A81F0EC3694D}" srcOrd="0" destOrd="0" presId="urn:microsoft.com/office/officeart/2005/8/layout/vList5"/>
    <dgm:cxn modelId="{45A2B69B-E274-4D36-AA68-A8400453F576}" srcId="{A85E0DD1-C6C4-4D83-BF03-D00024E172CB}" destId="{32E42CD9-5DA6-43D2-9457-7ACA2753D5EA}" srcOrd="0" destOrd="0" parTransId="{5FB1990A-572A-4DD2-B023-E350E523C0E0}" sibTransId="{35076D48-FE4C-4B3B-805E-C12A327DBFFD}"/>
    <dgm:cxn modelId="{78DF78A2-AF32-48FC-8F28-860016937258}" srcId="{0792C698-01CA-472E-950D-51F9591D5967}" destId="{683703F4-3B56-431B-BC9C-0A04BA475C05}" srcOrd="2" destOrd="0" parTransId="{0B131B55-8057-4A17-A179-A9E100684F20}" sibTransId="{D78DCC03-91A7-48E6-9CA2-0EC9A320FB70}"/>
    <dgm:cxn modelId="{83D0AEA2-8035-4ABB-9833-7C7F16D49562}" type="presOf" srcId="{683703F4-3B56-431B-BC9C-0A04BA475C05}" destId="{7EBC1530-0B83-44D6-94B9-6E894E41449B}" srcOrd="0" destOrd="0" presId="urn:microsoft.com/office/officeart/2005/8/layout/vList5"/>
    <dgm:cxn modelId="{59E945A9-EC22-40FB-A912-CCBBF3DCC3E9}" srcId="{1D14DECC-1754-429F-AB74-577A5F8EAB3B}" destId="{398E58C2-8FF2-4675-AFC4-17BB87371482}" srcOrd="0" destOrd="0" parTransId="{1A3DECF1-F9B6-4A2D-AF42-22825227BC06}" sibTransId="{65D510C1-8658-4666-A469-4609E264B983}"/>
    <dgm:cxn modelId="{C3DE6EB0-93DF-4164-90DE-B5988BE6E4E3}" type="presOf" srcId="{80086800-98CE-400F-9DAD-BB3D85E251B0}" destId="{50DA88A6-A998-4266-815A-5A3D434D37B6}" srcOrd="0" destOrd="0" presId="urn:microsoft.com/office/officeart/2005/8/layout/vList5"/>
    <dgm:cxn modelId="{16D348B5-4175-4D30-856F-0E39BACB4345}" srcId="{0792C698-01CA-472E-950D-51F9591D5967}" destId="{2DB8F66F-D76E-4F13-95E6-034A75110F83}" srcOrd="8" destOrd="0" parTransId="{DCB103DB-F0CC-4002-9A1B-DC2DE2AD12C4}" sibTransId="{F5C69EC1-A223-4DAD-84DB-6BF45B0AA06E}"/>
    <dgm:cxn modelId="{BF5A0DBC-A27E-4F3B-AEDE-B921E5DD061A}" srcId="{2DB8F66F-D76E-4F13-95E6-034A75110F83}" destId="{6D61315A-0F21-4731-B272-1E899159C88E}" srcOrd="2" destOrd="0" parTransId="{298B6283-8A0D-49D9-A73B-830C72C42A58}" sibTransId="{2E7BA02B-65E7-4396-A7D7-DD03CA7746D6}"/>
    <dgm:cxn modelId="{99441DC1-4EB9-4592-9ED0-2F8E48B870B0}" type="presOf" srcId="{2D277160-1E4A-4F37-93BB-70270B08BDF0}" destId="{22DBC66B-C1E0-43DF-8C92-BA9CE4851B6E}" srcOrd="0" destOrd="3" presId="urn:microsoft.com/office/officeart/2005/8/layout/vList5"/>
    <dgm:cxn modelId="{8C0136C2-258A-43C4-BF51-289AA090292C}" srcId="{0792C698-01CA-472E-950D-51F9591D5967}" destId="{AE8A9466-2770-4485-AA26-163E06842CE1}" srcOrd="4" destOrd="0" parTransId="{48138576-55EF-4715-9E27-3567ED9B000B}" sibTransId="{35EBBFB1-627C-407F-A23D-F886D572CAE3}"/>
    <dgm:cxn modelId="{2C74FAC3-DBC0-45A3-BE8B-995FA2C5AF44}" type="presOf" srcId="{51DA6914-3C38-4C7E-9534-9BA70E046F31}" destId="{22DBC66B-C1E0-43DF-8C92-BA9CE4851B6E}" srcOrd="0" destOrd="1" presId="urn:microsoft.com/office/officeart/2005/8/layout/vList5"/>
    <dgm:cxn modelId="{B81C31C4-7AE8-4A5A-9A42-F8AB764D2990}" srcId="{1D14DECC-1754-429F-AB74-577A5F8EAB3B}" destId="{39493233-954B-4265-8883-DB31BFC395E3}" srcOrd="1" destOrd="0" parTransId="{83EB7FE4-8CBA-49E4-A48B-03D6085C8AC1}" sibTransId="{338D5A87-8499-4C1C-AAD0-2472FC549A41}"/>
    <dgm:cxn modelId="{2E9C66C5-74B1-428F-800A-953D5816F4ED}" type="presOf" srcId="{17BF68AC-59FE-4C2B-A3D0-EA24B7BDF17C}" destId="{8C853430-9F7E-48F2-903C-A81F0EC3694D}" srcOrd="0" destOrd="4" presId="urn:microsoft.com/office/officeart/2005/8/layout/vList5"/>
    <dgm:cxn modelId="{D9E2E0C5-713F-47F2-94CD-C391CF64D8EF}" srcId="{2DB8F66F-D76E-4F13-95E6-034A75110F83}" destId="{2D277160-1E4A-4F37-93BB-70270B08BDF0}" srcOrd="3" destOrd="0" parTransId="{AE04B9D1-7F97-4151-811E-F83DB3A1FDC7}" sibTransId="{0D5DF546-06EA-48C3-AADF-98183342D197}"/>
    <dgm:cxn modelId="{510159CF-67D6-438B-B5C7-50EE0D9C7ECD}" srcId="{1D14DECC-1754-429F-AB74-577A5F8EAB3B}" destId="{17BF68AC-59FE-4C2B-A3D0-EA24B7BDF17C}" srcOrd="3" destOrd="0" parTransId="{F06DE331-5CCD-48E7-B607-B7D5A450FADA}" sibTransId="{81563A32-5516-4976-979E-E582382D47D9}"/>
    <dgm:cxn modelId="{4BF613D2-2AEF-4235-A43F-CF78A4ADC423}" type="presOf" srcId="{3E9A8CAB-2307-4A71-A17E-446BA406DB8C}" destId="{55008F07-2E45-492A-95AF-F8A244DA26B8}" srcOrd="0" destOrd="0" presId="urn:microsoft.com/office/officeart/2005/8/layout/vList5"/>
    <dgm:cxn modelId="{9FB116D5-4F49-46BC-A104-C4B7108A9D6D}" srcId="{3E9A8CAB-2307-4A71-A17E-446BA406DB8C}" destId="{BC1957A3-B084-4ADE-8F4D-CB0EA6874006}" srcOrd="1" destOrd="0" parTransId="{BA435A70-272B-425B-95E9-49338ABC311C}" sibTransId="{5A3EB3AB-5EDB-4C9F-B7E1-3F7062D2E41A}"/>
    <dgm:cxn modelId="{680B04D8-4D98-4662-A6A8-013C3D6339A7}" type="presOf" srcId="{62DF5E89-B433-49C8-B08F-CE6904BCF21F}" destId="{5A65C2A1-6FCD-4B06-A38D-5C48A026996E}" srcOrd="0" destOrd="2" presId="urn:microsoft.com/office/officeart/2005/8/layout/vList5"/>
    <dgm:cxn modelId="{F45D3BD8-6731-4614-AF53-3D05F58D79A8}" type="presOf" srcId="{1A2EDA7D-5863-4B2C-B499-503E381D18FA}" destId="{8C853430-9F7E-48F2-903C-A81F0EC3694D}" srcOrd="0" destOrd="3" presId="urn:microsoft.com/office/officeart/2005/8/layout/vList5"/>
    <dgm:cxn modelId="{885E1FE6-3299-4EF0-A40A-5BE913315861}" type="presOf" srcId="{BB8C102C-105D-4BBA-B043-24C194BCF390}" destId="{3446EB98-0C2B-4924-A54B-EEBF14A66AFC}" srcOrd="0" destOrd="0" presId="urn:microsoft.com/office/officeart/2005/8/layout/vList5"/>
    <dgm:cxn modelId="{4CD87EE6-DC24-4EA5-8EAD-418445F289EF}" srcId="{3E9A8CAB-2307-4A71-A17E-446BA406DB8C}" destId="{34599C39-2DFA-4C5B-AA3B-4845788E2E26}" srcOrd="0" destOrd="0" parTransId="{3F9F99C5-AD5C-4971-9A78-40D98961B9A2}" sibTransId="{98EA387F-9175-4154-9006-C0C2A1C1A565}"/>
    <dgm:cxn modelId="{47EB85EF-E35A-4B11-B517-0802E1D5A166}" srcId="{27857F77-63A9-4850-836D-05192F21E2FC}" destId="{CCA53E91-27AF-409F-A621-317A88E604F5}" srcOrd="0" destOrd="0" parTransId="{6A74735F-E6DD-4740-A68E-F8DA181B1F68}" sibTransId="{3D78DD48-B2B6-477D-B79F-7D701C1DA5A7}"/>
    <dgm:cxn modelId="{2C1946F3-6498-4714-BAD8-361A73F6B4AB}" type="presOf" srcId="{27857F77-63A9-4850-836D-05192F21E2FC}" destId="{4F3103D8-F6EA-4113-9D22-F995D226426F}" srcOrd="0" destOrd="0" presId="urn:microsoft.com/office/officeart/2005/8/layout/vList5"/>
    <dgm:cxn modelId="{E6E88DF3-F7FC-453B-96A3-75A949FC4012}" type="presOf" srcId="{E635C32A-9683-4879-9449-BC0D7752ABFB}" destId="{A23F40CB-F2EB-4D44-9E68-1853F43DF94A}" srcOrd="0" destOrd="0" presId="urn:microsoft.com/office/officeart/2005/8/layout/vList5"/>
    <dgm:cxn modelId="{718453F8-13B3-424C-B675-C11D37A85085}" type="presOf" srcId="{34599C39-2DFA-4C5B-AA3B-4845788E2E26}" destId="{55008F07-2E45-492A-95AF-F8A244DA26B8}" srcOrd="0" destOrd="1" presId="urn:microsoft.com/office/officeart/2005/8/layout/vList5"/>
    <dgm:cxn modelId="{C1B735FA-4E91-475A-A194-E426EEDD302C}" srcId="{1D14DECC-1754-429F-AB74-577A5F8EAB3B}" destId="{1A2EDA7D-5863-4B2C-B499-503E381D18FA}" srcOrd="2" destOrd="0" parTransId="{304CBB76-9BC2-40B0-8C8A-E950E0E2796E}" sibTransId="{1B16AB02-9FCD-4EEA-A0A8-74175F4F9C07}"/>
    <dgm:cxn modelId="{143F0CFC-4762-42AE-BB99-3887157E9D95}" type="presOf" srcId="{2DB8F66F-D76E-4F13-95E6-034A75110F83}" destId="{7103CB86-C6FE-4680-937A-D58DDA0FF35E}" srcOrd="0" destOrd="0" presId="urn:microsoft.com/office/officeart/2005/8/layout/vList5"/>
    <dgm:cxn modelId="{D190A8FC-77F8-423F-8959-20E8651C7465}" srcId="{0792C698-01CA-472E-950D-51F9591D5967}" destId="{51DB646C-F6FF-47D3-AA00-C13F8549245B}" srcOrd="7" destOrd="0" parTransId="{F5ECEC81-4E4C-48A9-AE15-E283ECB746C9}" sibTransId="{698AFD46-987A-407E-965D-DB4450527447}"/>
    <dgm:cxn modelId="{40E39A9E-7825-4A79-A5DF-A7A6B9C94763}" type="presParOf" srcId="{0B5459C0-00CA-4372-89E8-D37D77AFC736}" destId="{68F88E68-E010-49A3-9222-22DB993A7B09}" srcOrd="0" destOrd="0" presId="urn:microsoft.com/office/officeart/2005/8/layout/vList5"/>
    <dgm:cxn modelId="{BE30A5FD-0542-42CF-AC82-4CDDD708D9D4}" type="presParOf" srcId="{68F88E68-E010-49A3-9222-22DB993A7B09}" destId="{4F3103D8-F6EA-4113-9D22-F995D226426F}" srcOrd="0" destOrd="0" presId="urn:microsoft.com/office/officeart/2005/8/layout/vList5"/>
    <dgm:cxn modelId="{4D076780-6580-4BDE-8AFC-175A10550B61}" type="presParOf" srcId="{68F88E68-E010-49A3-9222-22DB993A7B09}" destId="{93CEB5E8-BD49-47C9-8111-C2E5940C21F7}" srcOrd="1" destOrd="0" presId="urn:microsoft.com/office/officeart/2005/8/layout/vList5"/>
    <dgm:cxn modelId="{0FFF7923-F2A5-4EF6-9281-75576ACD5F47}" type="presParOf" srcId="{0B5459C0-00CA-4372-89E8-D37D77AFC736}" destId="{E27939A4-BE3C-48E9-9077-6A07704F58D7}" srcOrd="1" destOrd="0" presId="urn:microsoft.com/office/officeart/2005/8/layout/vList5"/>
    <dgm:cxn modelId="{97FE1F9C-2037-4A30-9371-94AC97133895}" type="presParOf" srcId="{0B5459C0-00CA-4372-89E8-D37D77AFC736}" destId="{45B07785-B530-42F4-8063-BF5D12FD3C2D}" srcOrd="2" destOrd="0" presId="urn:microsoft.com/office/officeart/2005/8/layout/vList5"/>
    <dgm:cxn modelId="{A7A904FB-1E15-488F-A385-74FE72B26660}" type="presParOf" srcId="{45B07785-B530-42F4-8063-BF5D12FD3C2D}" destId="{50DA88A6-A998-4266-815A-5A3D434D37B6}" srcOrd="0" destOrd="0" presId="urn:microsoft.com/office/officeart/2005/8/layout/vList5"/>
    <dgm:cxn modelId="{198D955A-67DF-4B1A-BF0E-904DDDF250CE}" type="presParOf" srcId="{45B07785-B530-42F4-8063-BF5D12FD3C2D}" destId="{C3AC3067-7AE3-436C-8183-035777957537}" srcOrd="1" destOrd="0" presId="urn:microsoft.com/office/officeart/2005/8/layout/vList5"/>
    <dgm:cxn modelId="{E4BC1422-61F1-4BAB-BEE9-2ABE6A77A8B3}" type="presParOf" srcId="{0B5459C0-00CA-4372-89E8-D37D77AFC736}" destId="{1B2A10BF-35BB-4C16-BDA0-3E3F540DDE31}" srcOrd="3" destOrd="0" presId="urn:microsoft.com/office/officeart/2005/8/layout/vList5"/>
    <dgm:cxn modelId="{13B9C0E3-5D9C-4764-9EC3-E9C6CE8C68BC}" type="presParOf" srcId="{0B5459C0-00CA-4372-89E8-D37D77AFC736}" destId="{75F57F3F-EA45-42CC-A920-29E8700F1C6F}" srcOrd="4" destOrd="0" presId="urn:microsoft.com/office/officeart/2005/8/layout/vList5"/>
    <dgm:cxn modelId="{D5CE1EF6-1E89-428B-8849-2B429518C9EB}" type="presParOf" srcId="{75F57F3F-EA45-42CC-A920-29E8700F1C6F}" destId="{7EBC1530-0B83-44D6-94B9-6E894E41449B}" srcOrd="0" destOrd="0" presId="urn:microsoft.com/office/officeart/2005/8/layout/vList5"/>
    <dgm:cxn modelId="{B39D767C-AC96-404D-9C41-C3B22F5D8FD7}" type="presParOf" srcId="{75F57F3F-EA45-42CC-A920-29E8700F1C6F}" destId="{3446EB98-0C2B-4924-A54B-EEBF14A66AFC}" srcOrd="1" destOrd="0" presId="urn:microsoft.com/office/officeart/2005/8/layout/vList5"/>
    <dgm:cxn modelId="{1054FEBA-349A-490F-A063-C52E31C56633}" type="presParOf" srcId="{0B5459C0-00CA-4372-89E8-D37D77AFC736}" destId="{0C5E0B1E-A131-4738-A4F9-02A7D8F08ECD}" srcOrd="5" destOrd="0" presId="urn:microsoft.com/office/officeart/2005/8/layout/vList5"/>
    <dgm:cxn modelId="{136C7DD1-C5EF-4AAF-9DDA-D302FD8619F0}" type="presParOf" srcId="{0B5459C0-00CA-4372-89E8-D37D77AFC736}" destId="{7B3EF2E1-7620-41E0-9451-DA5F07F0B26A}" srcOrd="6" destOrd="0" presId="urn:microsoft.com/office/officeart/2005/8/layout/vList5"/>
    <dgm:cxn modelId="{D247BD27-5B0B-44C1-BCF4-CDB3799851A6}" type="presParOf" srcId="{7B3EF2E1-7620-41E0-9451-DA5F07F0B26A}" destId="{0C416C2C-D66F-459F-91ED-34CB141140AD}" srcOrd="0" destOrd="0" presId="urn:microsoft.com/office/officeart/2005/8/layout/vList5"/>
    <dgm:cxn modelId="{2D8603EB-5F7E-4DE0-A3B2-0EEE2BFEB5F7}" type="presParOf" srcId="{7B3EF2E1-7620-41E0-9451-DA5F07F0B26A}" destId="{55008F07-2E45-492A-95AF-F8A244DA26B8}" srcOrd="1" destOrd="0" presId="urn:microsoft.com/office/officeart/2005/8/layout/vList5"/>
    <dgm:cxn modelId="{078E68B9-4E8B-421A-A36E-0E62A25C0EB8}" type="presParOf" srcId="{0B5459C0-00CA-4372-89E8-D37D77AFC736}" destId="{F0BE0664-6886-4B62-8D31-E1B3EFAB73C7}" srcOrd="7" destOrd="0" presId="urn:microsoft.com/office/officeart/2005/8/layout/vList5"/>
    <dgm:cxn modelId="{0480D475-5A43-495A-8070-CF04DC8DA226}" type="presParOf" srcId="{0B5459C0-00CA-4372-89E8-D37D77AFC736}" destId="{F844AD1A-A9EB-4F11-BA98-B9B7600A3AF8}" srcOrd="8" destOrd="0" presId="urn:microsoft.com/office/officeart/2005/8/layout/vList5"/>
    <dgm:cxn modelId="{8ECF21E5-B7DF-4D2D-AC1C-322CF70B0261}" type="presParOf" srcId="{F844AD1A-A9EB-4F11-BA98-B9B7600A3AF8}" destId="{EC0EA46C-41EC-4512-8AF2-477183933C4B}" srcOrd="0" destOrd="0" presId="urn:microsoft.com/office/officeart/2005/8/layout/vList5"/>
    <dgm:cxn modelId="{856C9E36-1045-4DCB-8841-CB7C386F0DB8}" type="presParOf" srcId="{F844AD1A-A9EB-4F11-BA98-B9B7600A3AF8}" destId="{8C853430-9F7E-48F2-903C-A81F0EC3694D}" srcOrd="1" destOrd="0" presId="urn:microsoft.com/office/officeart/2005/8/layout/vList5"/>
    <dgm:cxn modelId="{CDBE7328-026C-4C46-A3C5-949B5AA5984F}" type="presParOf" srcId="{0B5459C0-00CA-4372-89E8-D37D77AFC736}" destId="{1BA6684B-0182-4D4F-8D95-3923057C556D}" srcOrd="9" destOrd="0" presId="urn:microsoft.com/office/officeart/2005/8/layout/vList5"/>
    <dgm:cxn modelId="{BF3B01E2-9F5C-486C-A0DB-13D46C1BA144}" type="presParOf" srcId="{0B5459C0-00CA-4372-89E8-D37D77AFC736}" destId="{A3ADF232-018F-41E2-A847-7A305A574634}" srcOrd="10" destOrd="0" presId="urn:microsoft.com/office/officeart/2005/8/layout/vList5"/>
    <dgm:cxn modelId="{3391E475-911B-45F5-9D1C-09444166721A}" type="presParOf" srcId="{A3ADF232-018F-41E2-A847-7A305A574634}" destId="{46FC0634-DDEE-49DC-B7E0-DBF47EF2CA18}" srcOrd="0" destOrd="0" presId="urn:microsoft.com/office/officeart/2005/8/layout/vList5"/>
    <dgm:cxn modelId="{F40A2AF5-BDC6-49C5-B2B1-4F37F2456D7A}" type="presParOf" srcId="{A3ADF232-018F-41E2-A847-7A305A574634}" destId="{A23F40CB-F2EB-4D44-9E68-1853F43DF94A}" srcOrd="1" destOrd="0" presId="urn:microsoft.com/office/officeart/2005/8/layout/vList5"/>
    <dgm:cxn modelId="{482B26F9-C8DD-43D4-8234-C419908C97FD}" type="presParOf" srcId="{0B5459C0-00CA-4372-89E8-D37D77AFC736}" destId="{D43FD79B-F688-4F79-99C0-E7AEC662C5DB}" srcOrd="11" destOrd="0" presId="urn:microsoft.com/office/officeart/2005/8/layout/vList5"/>
    <dgm:cxn modelId="{D754794F-2A50-4A1E-A60C-9A59318E3C7E}" type="presParOf" srcId="{0B5459C0-00CA-4372-89E8-D37D77AFC736}" destId="{D3D40FE3-3E2D-4BC4-BA56-0CFA4D75033C}" srcOrd="12" destOrd="0" presId="urn:microsoft.com/office/officeart/2005/8/layout/vList5"/>
    <dgm:cxn modelId="{43EF6DDE-2D25-44A8-B8A0-CE367DC44F09}" type="presParOf" srcId="{D3D40FE3-3E2D-4BC4-BA56-0CFA4D75033C}" destId="{7C04C658-BAB2-48F3-B289-B9ECAB716CAA}" srcOrd="0" destOrd="0" presId="urn:microsoft.com/office/officeart/2005/8/layout/vList5"/>
    <dgm:cxn modelId="{DEA850EF-3E6D-40CD-94E0-2E4AE07FF7D0}" type="presParOf" srcId="{D3D40FE3-3E2D-4BC4-BA56-0CFA4D75033C}" destId="{5A65C2A1-6FCD-4B06-A38D-5C48A026996E}" srcOrd="1" destOrd="0" presId="urn:microsoft.com/office/officeart/2005/8/layout/vList5"/>
    <dgm:cxn modelId="{F2E129D2-B23C-4C52-AC0D-C19A43EA8BED}" type="presParOf" srcId="{0B5459C0-00CA-4372-89E8-D37D77AFC736}" destId="{DA04EDE2-6FC4-46EC-9033-A5AEDD42F0CD}" srcOrd="13" destOrd="0" presId="urn:microsoft.com/office/officeart/2005/8/layout/vList5"/>
    <dgm:cxn modelId="{D6D03963-1583-4F83-A017-767229ADD309}" type="presParOf" srcId="{0B5459C0-00CA-4372-89E8-D37D77AFC736}" destId="{F33CA42E-E35E-4A08-8019-7CCA4812126F}" srcOrd="14" destOrd="0" presId="urn:microsoft.com/office/officeart/2005/8/layout/vList5"/>
    <dgm:cxn modelId="{0ABD456D-9AFE-487C-89A4-A19827A309AB}" type="presParOf" srcId="{F33CA42E-E35E-4A08-8019-7CCA4812126F}" destId="{EA162E80-59D6-4406-9EDE-B07494F923E5}" srcOrd="0" destOrd="0" presId="urn:microsoft.com/office/officeart/2005/8/layout/vList5"/>
    <dgm:cxn modelId="{603C8312-30B0-47B3-BA80-A138FEF5ADC6}" type="presParOf" srcId="{F33CA42E-E35E-4A08-8019-7CCA4812126F}" destId="{EEB48256-1CDC-478F-9AA9-00E4C9F931A4}" srcOrd="1" destOrd="0" presId="urn:microsoft.com/office/officeart/2005/8/layout/vList5"/>
    <dgm:cxn modelId="{150DF82A-8407-4EB1-AD16-7B22A9A46CEE}" type="presParOf" srcId="{0B5459C0-00CA-4372-89E8-D37D77AFC736}" destId="{633D4AEA-16FB-438E-BF2F-C0DF9D9D18A5}" srcOrd="15" destOrd="0" presId="urn:microsoft.com/office/officeart/2005/8/layout/vList5"/>
    <dgm:cxn modelId="{2F62F016-088A-4253-A569-09D514151E4A}" type="presParOf" srcId="{0B5459C0-00CA-4372-89E8-D37D77AFC736}" destId="{4ABA376B-4178-4304-B90D-134D44B5EBE6}" srcOrd="16" destOrd="0" presId="urn:microsoft.com/office/officeart/2005/8/layout/vList5"/>
    <dgm:cxn modelId="{D666DB69-016B-4F43-9242-89D9C8D02A7B}" type="presParOf" srcId="{4ABA376B-4178-4304-B90D-134D44B5EBE6}" destId="{7103CB86-C6FE-4680-937A-D58DDA0FF35E}" srcOrd="0" destOrd="0" presId="urn:microsoft.com/office/officeart/2005/8/layout/vList5"/>
    <dgm:cxn modelId="{2640EA30-EACF-4C72-A2D6-E3883CBE4BF9}" type="presParOf" srcId="{4ABA376B-4178-4304-B90D-134D44B5EBE6}" destId="{22DBC66B-C1E0-43DF-8C92-BA9CE4851B6E}" srcOrd="1" destOrd="0" presId="urn:microsoft.com/office/officeart/2005/8/layout/vList5"/>
    <dgm:cxn modelId="{727671EC-0DE9-404E-96F1-28517E8ED628}" type="presParOf" srcId="{0B5459C0-00CA-4372-89E8-D37D77AFC736}" destId="{AE0262E8-231C-4CE4-AC12-62F7FCC7E173}" srcOrd="17" destOrd="0" presId="urn:microsoft.com/office/officeart/2005/8/layout/vList5"/>
    <dgm:cxn modelId="{F04D5E1F-63A7-4C11-9F2A-D024D88AE6E9}" type="presParOf" srcId="{0B5459C0-00CA-4372-89E8-D37D77AFC736}" destId="{682364B2-E93F-441E-B656-7D2E0E80AD31}" srcOrd="18" destOrd="0" presId="urn:microsoft.com/office/officeart/2005/8/layout/vList5"/>
    <dgm:cxn modelId="{77AFE044-B393-4476-85D6-888D46DC70CE}" type="presParOf" srcId="{682364B2-E93F-441E-B656-7D2E0E80AD31}" destId="{1777ED9B-E174-40F0-B13B-C3EEC12AA822}" srcOrd="0" destOrd="0" presId="urn:microsoft.com/office/officeart/2005/8/layout/vList5"/>
    <dgm:cxn modelId="{36A6133E-CF90-492E-992B-724CE9A113D4}" type="presParOf" srcId="{682364B2-E93F-441E-B656-7D2E0E80AD31}" destId="{2EECC300-BF5A-48AB-84B9-AA7FFBA14884}" srcOrd="1" destOrd="0" presId="urn:microsoft.com/office/officeart/2005/8/layout/vList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792C698-01CA-472E-950D-51F9591D5967}"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sl-SI"/>
        </a:p>
      </dgm:t>
    </dgm:pt>
    <dgm:pt modelId="{27857F77-63A9-4850-836D-05192F21E2FC}">
      <dgm:prSet phldrT="[Text]"/>
      <dgm:spPr/>
      <dgm:t>
        <a:bodyPr/>
        <a:lstStyle/>
        <a:p>
          <a:r>
            <a:rPr lang="sl-SI" b="1" dirty="0"/>
            <a:t>Zeleni namen</a:t>
          </a:r>
        </a:p>
      </dgm:t>
    </dgm:pt>
    <dgm:pt modelId="{868AEC0D-C4AC-4FFC-A8F1-5C7165C9E45A}" type="parTrans" cxnId="{56271E26-4161-4A74-ADEC-742E1C2F3C15}">
      <dgm:prSet/>
      <dgm:spPr/>
      <dgm:t>
        <a:bodyPr/>
        <a:lstStyle/>
        <a:p>
          <a:endParaRPr lang="sl-SI"/>
        </a:p>
      </dgm:t>
    </dgm:pt>
    <dgm:pt modelId="{CC1F4474-560B-4F94-BEA1-BAF367F9421C}" type="sibTrans" cxnId="{56271E26-4161-4A74-ADEC-742E1C2F3C15}">
      <dgm:prSet/>
      <dgm:spPr/>
      <dgm:t>
        <a:bodyPr/>
        <a:lstStyle/>
        <a:p>
          <a:endParaRPr lang="sl-SI"/>
        </a:p>
      </dgm:t>
    </dgm:pt>
    <dgm:pt modelId="{CCA53E91-27AF-409F-A621-317A88E604F5}">
      <dgm:prSet phldrT="[Text]" custT="1"/>
      <dgm:spPr/>
      <dgm:t>
        <a:bodyPr/>
        <a:lstStyle/>
        <a:p>
          <a:r>
            <a:rPr lang="sl-SI" sz="1000" kern="1200" dirty="0">
              <a:solidFill>
                <a:srgbClr val="757575">
                  <a:hueOff val="0"/>
                  <a:satOff val="0"/>
                  <a:lumOff val="0"/>
                  <a:alphaOff val="0"/>
                </a:srgbClr>
              </a:solidFill>
              <a:latin typeface="Arial"/>
              <a:ea typeface="+mn-ea"/>
              <a:cs typeface="+mn-cs"/>
            </a:rPr>
            <a:t>Trajnostno gospodarjenje z vodami in odpadnimi vodami ter odpadki </a:t>
          </a:r>
        </a:p>
      </dgm:t>
    </dgm:pt>
    <dgm:pt modelId="{6A74735F-E6DD-4740-A68E-F8DA181B1F68}" type="parTrans" cxnId="{47EB85EF-E35A-4B11-B517-0802E1D5A166}">
      <dgm:prSet/>
      <dgm:spPr/>
      <dgm:t>
        <a:bodyPr/>
        <a:lstStyle/>
        <a:p>
          <a:endParaRPr lang="sl-SI"/>
        </a:p>
      </dgm:t>
    </dgm:pt>
    <dgm:pt modelId="{3D78DD48-B2B6-477D-B79F-7D701C1DA5A7}" type="sibTrans" cxnId="{47EB85EF-E35A-4B11-B517-0802E1D5A166}">
      <dgm:prSet/>
      <dgm:spPr/>
      <dgm:t>
        <a:bodyPr/>
        <a:lstStyle/>
        <a:p>
          <a:endParaRPr lang="sl-SI"/>
        </a:p>
      </dgm:t>
    </dgm:pt>
    <dgm:pt modelId="{80086800-98CE-400F-9DAD-BB3D85E251B0}">
      <dgm:prSet phldrT="[Text]"/>
      <dgm:spPr/>
      <dgm:t>
        <a:bodyPr/>
        <a:lstStyle/>
        <a:p>
          <a:r>
            <a:rPr lang="sl-SI" b="1"/>
            <a:t>Zelena vrsta investicije</a:t>
          </a:r>
          <a:endParaRPr lang="sl-SI"/>
        </a:p>
      </dgm:t>
    </dgm:pt>
    <dgm:pt modelId="{BE4EB824-0BED-4E87-88CE-B22ACDB96463}" type="parTrans" cxnId="{E3F6F369-9814-40E1-B56F-D54E048368E8}">
      <dgm:prSet/>
      <dgm:spPr/>
      <dgm:t>
        <a:bodyPr/>
        <a:lstStyle/>
        <a:p>
          <a:endParaRPr lang="sl-SI"/>
        </a:p>
      </dgm:t>
    </dgm:pt>
    <dgm:pt modelId="{9AD784D5-BEC4-41CD-8E01-75E0FCA5A823}" type="sibTrans" cxnId="{E3F6F369-9814-40E1-B56F-D54E048368E8}">
      <dgm:prSet/>
      <dgm:spPr/>
      <dgm:t>
        <a:bodyPr/>
        <a:lstStyle/>
        <a:p>
          <a:endParaRPr lang="sl-SI"/>
        </a:p>
      </dgm:t>
    </dgm:pt>
    <dgm:pt modelId="{2B5F5839-2386-40C9-B265-B4E75404B35F}">
      <dgm:prSet phldrT="[Text]" custT="1"/>
      <dgm:spPr/>
      <dgm:t>
        <a:bodyPr/>
        <a:lstStyle/>
        <a:p>
          <a:r>
            <a:rPr lang="sl-SI" sz="1000" dirty="0"/>
            <a:t>Zbiranje in prevoz nenevarnih odpadkov v ločenih frakcijah vira (5.5.številka aktivnosti iz EU Taksonomije)</a:t>
          </a:r>
        </a:p>
      </dgm:t>
    </dgm:pt>
    <dgm:pt modelId="{9FF377D0-12B1-40A8-97E9-CD19101AFD64}" type="parTrans" cxnId="{C420358F-302F-468F-B8C3-9FC8838948D9}">
      <dgm:prSet/>
      <dgm:spPr/>
      <dgm:t>
        <a:bodyPr/>
        <a:lstStyle/>
        <a:p>
          <a:endParaRPr lang="sl-SI"/>
        </a:p>
      </dgm:t>
    </dgm:pt>
    <dgm:pt modelId="{B4A3F896-D794-422F-8C4A-F6FD9AC1CC11}" type="sibTrans" cxnId="{C420358F-302F-468F-B8C3-9FC8838948D9}">
      <dgm:prSet/>
      <dgm:spPr/>
      <dgm:t>
        <a:bodyPr/>
        <a:lstStyle/>
        <a:p>
          <a:endParaRPr lang="sl-SI"/>
        </a:p>
      </dgm:t>
    </dgm:pt>
    <dgm:pt modelId="{683703F4-3B56-431B-BC9C-0A04BA475C05}">
      <dgm:prSet phldrT="[Text]"/>
      <dgm:spPr/>
      <dgm:t>
        <a:bodyPr/>
        <a:lstStyle/>
        <a:p>
          <a:r>
            <a:rPr lang="sl-SI" b="1"/>
            <a:t>Opis</a:t>
          </a:r>
          <a:endParaRPr lang="sl-SI"/>
        </a:p>
      </dgm:t>
    </dgm:pt>
    <dgm:pt modelId="{0B131B55-8057-4A17-A179-A9E100684F20}" type="parTrans" cxnId="{78DF78A2-AF32-48FC-8F28-860016937258}">
      <dgm:prSet/>
      <dgm:spPr/>
      <dgm:t>
        <a:bodyPr/>
        <a:lstStyle/>
        <a:p>
          <a:endParaRPr lang="sl-SI"/>
        </a:p>
      </dgm:t>
    </dgm:pt>
    <dgm:pt modelId="{D78DCC03-91A7-48E6-9CA2-0EC9A320FB70}" type="sibTrans" cxnId="{78DF78A2-AF32-48FC-8F28-860016937258}">
      <dgm:prSet/>
      <dgm:spPr/>
      <dgm:t>
        <a:bodyPr/>
        <a:lstStyle/>
        <a:p>
          <a:endParaRPr lang="sl-SI"/>
        </a:p>
      </dgm:t>
    </dgm:pt>
    <dgm:pt modelId="{BB8C102C-105D-4BBA-B043-24C194BCF390}">
      <dgm:prSet phldrT="[Text]" custT="1"/>
      <dgm:spPr/>
      <dgm:t>
        <a:bodyPr/>
        <a:lstStyle/>
        <a:p>
          <a:r>
            <a:rPr lang="sl-SI" sz="1000" dirty="0"/>
            <a:t>ločeno zbiranje in prevoz nenevarnih odpadkov v posameznih frakcijah ali mešanih frakcijah namenjenih pripravi za ponovno uporabo ali recikliranje.</a:t>
          </a:r>
        </a:p>
      </dgm:t>
    </dgm:pt>
    <dgm:pt modelId="{2F29F0AE-9F30-496E-B9F2-9E64C3203AFF}" type="parTrans" cxnId="{82C01C43-2173-4FD4-AAF0-4968ADCD4CF9}">
      <dgm:prSet/>
      <dgm:spPr/>
      <dgm:t>
        <a:bodyPr/>
        <a:lstStyle/>
        <a:p>
          <a:endParaRPr lang="sl-SI"/>
        </a:p>
      </dgm:t>
    </dgm:pt>
    <dgm:pt modelId="{0F05E1BF-132D-4077-9857-82A19CAA371F}" type="sibTrans" cxnId="{82C01C43-2173-4FD4-AAF0-4968ADCD4CF9}">
      <dgm:prSet/>
      <dgm:spPr/>
      <dgm:t>
        <a:bodyPr/>
        <a:lstStyle/>
        <a:p>
          <a:endParaRPr lang="sl-SI"/>
        </a:p>
      </dgm:t>
    </dgm:pt>
    <dgm:pt modelId="{C3BAE8DF-FE77-4711-ABDE-F2115DCA05CE}">
      <dgm:prSet/>
      <dgm:spPr/>
      <dgm:t>
        <a:bodyPr/>
        <a:lstStyle/>
        <a:p>
          <a:r>
            <a:rPr lang="sl-SI" b="1" dirty="0"/>
            <a:t>Pomembni kriteriji </a:t>
          </a:r>
          <a:endParaRPr lang="sl-SI" dirty="0"/>
        </a:p>
      </dgm:t>
    </dgm:pt>
    <dgm:pt modelId="{A9AF79C2-1544-4197-9C1A-74BEC79528DC}" type="parTrans" cxnId="{C722FA71-9ABF-4E78-BA98-CDAC54B75584}">
      <dgm:prSet/>
      <dgm:spPr/>
      <dgm:t>
        <a:bodyPr/>
        <a:lstStyle/>
        <a:p>
          <a:endParaRPr lang="sl-SI"/>
        </a:p>
      </dgm:t>
    </dgm:pt>
    <dgm:pt modelId="{E3242202-1C5A-4A7F-BABA-0EEDC9B0C870}" type="sibTrans" cxnId="{C722FA71-9ABF-4E78-BA98-CDAC54B75584}">
      <dgm:prSet/>
      <dgm:spPr/>
      <dgm:t>
        <a:bodyPr/>
        <a:lstStyle/>
        <a:p>
          <a:endParaRPr lang="sl-SI"/>
        </a:p>
      </dgm:t>
    </dgm:pt>
    <dgm:pt modelId="{3E9A8CAB-2307-4A71-A17E-446BA406DB8C}">
      <dgm:prSet custT="1"/>
      <dgm:spPr/>
      <dgm:t>
        <a:bodyPr/>
        <a:lstStyle/>
        <a:p>
          <a:r>
            <a:rPr lang="sl-SI" sz="900" dirty="0"/>
            <a:t>Vsi ločeno zbrani in prepeljani nenevarni odpadki, ločeni pri viru, so namenjeni pripravi za ponovno uporabo ali recikliranju.</a:t>
          </a:r>
        </a:p>
      </dgm:t>
    </dgm:pt>
    <dgm:pt modelId="{F7FBBD54-01B4-4420-A346-072C8974EFC0}" type="parTrans" cxnId="{FBCF4727-2998-4D1E-A7B6-8B4CB3E71886}">
      <dgm:prSet/>
      <dgm:spPr/>
      <dgm:t>
        <a:bodyPr/>
        <a:lstStyle/>
        <a:p>
          <a:endParaRPr lang="sl-SI"/>
        </a:p>
      </dgm:t>
    </dgm:pt>
    <dgm:pt modelId="{A172D863-5D3A-4594-B551-23FBC3BFD764}" type="sibTrans" cxnId="{FBCF4727-2998-4D1E-A7B6-8B4CB3E71886}">
      <dgm:prSet/>
      <dgm:spPr/>
      <dgm:t>
        <a:bodyPr/>
        <a:lstStyle/>
        <a:p>
          <a:endParaRPr lang="sl-SI"/>
        </a:p>
      </dgm:t>
    </dgm:pt>
    <dgm:pt modelId="{D9F1C15D-CE9D-49C4-BF7F-524AD2DA0BA9}">
      <dgm:prSet custT="1"/>
      <dgm:spPr/>
      <dgm:t>
        <a:bodyPr/>
        <a:lstStyle/>
        <a:p>
          <a:pPr>
            <a:buFont typeface="Arial" panose="020B0604020202020204" pitchFamily="34" charset="0"/>
            <a:buChar char="-"/>
          </a:pPr>
          <a:endParaRPr lang="sl-SI" sz="800" dirty="0"/>
        </a:p>
      </dgm:t>
    </dgm:pt>
    <dgm:pt modelId="{AC59CE61-0B87-4352-9FE9-A800A1045A2E}" type="parTrans" cxnId="{1F73464F-88C2-4AA0-A322-73BAFD30C0AB}">
      <dgm:prSet/>
      <dgm:spPr/>
      <dgm:t>
        <a:bodyPr/>
        <a:lstStyle/>
        <a:p>
          <a:endParaRPr lang="sl-SI"/>
        </a:p>
      </dgm:t>
    </dgm:pt>
    <dgm:pt modelId="{DBFA9F08-78DC-4FB3-8711-64545A82E7BC}" type="sibTrans" cxnId="{1F73464F-88C2-4AA0-A322-73BAFD30C0AB}">
      <dgm:prSet/>
      <dgm:spPr/>
      <dgm:t>
        <a:bodyPr/>
        <a:lstStyle/>
        <a:p>
          <a:endParaRPr lang="sl-SI"/>
        </a:p>
      </dgm:t>
    </dgm:pt>
    <dgm:pt modelId="{A85E0DD1-C6C4-4D83-BF03-D00024E172CB}">
      <dgm:prSet/>
      <dgm:spPr/>
      <dgm:t>
        <a:bodyPr/>
        <a:lstStyle/>
        <a:p>
          <a:r>
            <a:rPr lang="sl-SI" b="1" dirty="0"/>
            <a:t>Višina investicije</a:t>
          </a:r>
        </a:p>
      </dgm:t>
    </dgm:pt>
    <dgm:pt modelId="{FE7F67DC-2E53-41F6-A6BE-92B3C307F341}" type="parTrans" cxnId="{8DE4D05F-2A02-4C27-A8A6-8A2825C00B38}">
      <dgm:prSet/>
      <dgm:spPr/>
      <dgm:t>
        <a:bodyPr/>
        <a:lstStyle/>
        <a:p>
          <a:endParaRPr lang="sl-SI"/>
        </a:p>
      </dgm:t>
    </dgm:pt>
    <dgm:pt modelId="{4A06D066-1645-4BE5-B4EC-A4A827EDBC95}" type="sibTrans" cxnId="{8DE4D05F-2A02-4C27-A8A6-8A2825C00B38}">
      <dgm:prSet/>
      <dgm:spPr/>
      <dgm:t>
        <a:bodyPr/>
        <a:lstStyle/>
        <a:p>
          <a:endParaRPr lang="sl-SI"/>
        </a:p>
      </dgm:t>
    </dgm:pt>
    <dgm:pt modelId="{32E42CD9-5DA6-43D2-9457-7ACA2753D5EA}">
      <dgm:prSet/>
      <dgm:spPr/>
      <dgm:t>
        <a:bodyPr/>
        <a:lstStyle/>
        <a:p>
          <a:endParaRPr lang="sl-SI"/>
        </a:p>
      </dgm:t>
    </dgm:pt>
    <dgm:pt modelId="{5FB1990A-572A-4DD2-B023-E350E523C0E0}" type="parTrans" cxnId="{45A2B69B-E274-4D36-AA68-A8400453F576}">
      <dgm:prSet/>
      <dgm:spPr/>
      <dgm:t>
        <a:bodyPr/>
        <a:lstStyle/>
        <a:p>
          <a:endParaRPr lang="sl-SI"/>
        </a:p>
      </dgm:t>
    </dgm:pt>
    <dgm:pt modelId="{35076D48-FE4C-4B3B-805E-C12A327DBFFD}" type="sibTrans" cxnId="{45A2B69B-E274-4D36-AA68-A8400453F576}">
      <dgm:prSet/>
      <dgm:spPr/>
      <dgm:t>
        <a:bodyPr/>
        <a:lstStyle/>
        <a:p>
          <a:endParaRPr lang="sl-SI"/>
        </a:p>
      </dgm:t>
    </dgm:pt>
    <dgm:pt modelId="{0B5459C0-00CA-4372-89E8-D37D77AFC736}" type="pres">
      <dgm:prSet presAssocID="{0792C698-01CA-472E-950D-51F9591D5967}" presName="Name0" presStyleCnt="0">
        <dgm:presLayoutVars>
          <dgm:dir/>
          <dgm:animLvl val="lvl"/>
          <dgm:resizeHandles val="exact"/>
        </dgm:presLayoutVars>
      </dgm:prSet>
      <dgm:spPr/>
    </dgm:pt>
    <dgm:pt modelId="{68F88E68-E010-49A3-9222-22DB993A7B09}" type="pres">
      <dgm:prSet presAssocID="{27857F77-63A9-4850-836D-05192F21E2FC}" presName="linNode" presStyleCnt="0"/>
      <dgm:spPr/>
    </dgm:pt>
    <dgm:pt modelId="{4F3103D8-F6EA-4113-9D22-F995D226426F}" type="pres">
      <dgm:prSet presAssocID="{27857F77-63A9-4850-836D-05192F21E2FC}" presName="parentText" presStyleLbl="node1" presStyleIdx="0" presStyleCnt="5" custScaleY="43337">
        <dgm:presLayoutVars>
          <dgm:chMax val="1"/>
          <dgm:bulletEnabled val="1"/>
        </dgm:presLayoutVars>
      </dgm:prSet>
      <dgm:spPr/>
    </dgm:pt>
    <dgm:pt modelId="{93CEB5E8-BD49-47C9-8111-C2E5940C21F7}" type="pres">
      <dgm:prSet presAssocID="{27857F77-63A9-4850-836D-05192F21E2FC}" presName="descendantText" presStyleLbl="alignAccFollowNode1" presStyleIdx="0" presStyleCnt="5" custScaleY="52295">
        <dgm:presLayoutVars>
          <dgm:bulletEnabled val="1"/>
        </dgm:presLayoutVars>
      </dgm:prSet>
      <dgm:spPr/>
    </dgm:pt>
    <dgm:pt modelId="{E27939A4-BE3C-48E9-9077-6A07704F58D7}" type="pres">
      <dgm:prSet presAssocID="{CC1F4474-560B-4F94-BEA1-BAF367F9421C}" presName="sp" presStyleCnt="0"/>
      <dgm:spPr/>
    </dgm:pt>
    <dgm:pt modelId="{45B07785-B530-42F4-8063-BF5D12FD3C2D}" type="pres">
      <dgm:prSet presAssocID="{80086800-98CE-400F-9DAD-BB3D85E251B0}" presName="linNode" presStyleCnt="0"/>
      <dgm:spPr/>
    </dgm:pt>
    <dgm:pt modelId="{50DA88A6-A998-4266-815A-5A3D434D37B6}" type="pres">
      <dgm:prSet presAssocID="{80086800-98CE-400F-9DAD-BB3D85E251B0}" presName="parentText" presStyleLbl="node1" presStyleIdx="1" presStyleCnt="5" custScaleY="50275">
        <dgm:presLayoutVars>
          <dgm:chMax val="1"/>
          <dgm:bulletEnabled val="1"/>
        </dgm:presLayoutVars>
      </dgm:prSet>
      <dgm:spPr/>
    </dgm:pt>
    <dgm:pt modelId="{C3AC3067-7AE3-436C-8183-035777957537}" type="pres">
      <dgm:prSet presAssocID="{80086800-98CE-400F-9DAD-BB3D85E251B0}" presName="descendantText" presStyleLbl="alignAccFollowNode1" presStyleIdx="1" presStyleCnt="5" custScaleY="67679">
        <dgm:presLayoutVars>
          <dgm:bulletEnabled val="1"/>
        </dgm:presLayoutVars>
      </dgm:prSet>
      <dgm:spPr/>
    </dgm:pt>
    <dgm:pt modelId="{1B2A10BF-35BB-4C16-BDA0-3E3F540DDE31}" type="pres">
      <dgm:prSet presAssocID="{9AD784D5-BEC4-41CD-8E01-75E0FCA5A823}" presName="sp" presStyleCnt="0"/>
      <dgm:spPr/>
    </dgm:pt>
    <dgm:pt modelId="{75F57F3F-EA45-42CC-A920-29E8700F1C6F}" type="pres">
      <dgm:prSet presAssocID="{683703F4-3B56-431B-BC9C-0A04BA475C05}" presName="linNode" presStyleCnt="0"/>
      <dgm:spPr/>
    </dgm:pt>
    <dgm:pt modelId="{7EBC1530-0B83-44D6-94B9-6E894E41449B}" type="pres">
      <dgm:prSet presAssocID="{683703F4-3B56-431B-BC9C-0A04BA475C05}" presName="parentText" presStyleLbl="node1" presStyleIdx="2" presStyleCnt="5" custScaleY="74387">
        <dgm:presLayoutVars>
          <dgm:chMax val="1"/>
          <dgm:bulletEnabled val="1"/>
        </dgm:presLayoutVars>
      </dgm:prSet>
      <dgm:spPr/>
    </dgm:pt>
    <dgm:pt modelId="{3446EB98-0C2B-4924-A54B-EEBF14A66AFC}" type="pres">
      <dgm:prSet presAssocID="{683703F4-3B56-431B-BC9C-0A04BA475C05}" presName="descendantText" presStyleLbl="alignAccFollowNode1" presStyleIdx="2" presStyleCnt="5" custScaleY="85556">
        <dgm:presLayoutVars>
          <dgm:bulletEnabled val="1"/>
        </dgm:presLayoutVars>
      </dgm:prSet>
      <dgm:spPr/>
    </dgm:pt>
    <dgm:pt modelId="{0C5E0B1E-A131-4738-A4F9-02A7D8F08ECD}" type="pres">
      <dgm:prSet presAssocID="{D78DCC03-91A7-48E6-9CA2-0EC9A320FB70}" presName="sp" presStyleCnt="0"/>
      <dgm:spPr/>
    </dgm:pt>
    <dgm:pt modelId="{7B3EF2E1-7620-41E0-9451-DA5F07F0B26A}" type="pres">
      <dgm:prSet presAssocID="{C3BAE8DF-FE77-4711-ABDE-F2115DCA05CE}" presName="linNode" presStyleCnt="0"/>
      <dgm:spPr/>
    </dgm:pt>
    <dgm:pt modelId="{0C416C2C-D66F-459F-91ED-34CB141140AD}" type="pres">
      <dgm:prSet presAssocID="{C3BAE8DF-FE77-4711-ABDE-F2115DCA05CE}" presName="parentText" presStyleLbl="node1" presStyleIdx="3" presStyleCnt="5" custScaleY="69653">
        <dgm:presLayoutVars>
          <dgm:chMax val="1"/>
          <dgm:bulletEnabled val="1"/>
        </dgm:presLayoutVars>
      </dgm:prSet>
      <dgm:spPr/>
    </dgm:pt>
    <dgm:pt modelId="{55008F07-2E45-492A-95AF-F8A244DA26B8}" type="pres">
      <dgm:prSet presAssocID="{C3BAE8DF-FE77-4711-ABDE-F2115DCA05CE}" presName="descendantText" presStyleLbl="alignAccFollowNode1" presStyleIdx="3" presStyleCnt="5" custScaleY="76089" custLinFactNeighborX="1852" custLinFactNeighborY="0">
        <dgm:presLayoutVars>
          <dgm:bulletEnabled val="1"/>
        </dgm:presLayoutVars>
      </dgm:prSet>
      <dgm:spPr/>
    </dgm:pt>
    <dgm:pt modelId="{F0BE0664-6886-4B62-8D31-E1B3EFAB73C7}" type="pres">
      <dgm:prSet presAssocID="{E3242202-1C5A-4A7F-BABA-0EEDC9B0C870}" presName="sp" presStyleCnt="0"/>
      <dgm:spPr/>
    </dgm:pt>
    <dgm:pt modelId="{682364B2-E93F-441E-B656-7D2E0E80AD31}" type="pres">
      <dgm:prSet presAssocID="{A85E0DD1-C6C4-4D83-BF03-D00024E172CB}" presName="linNode" presStyleCnt="0"/>
      <dgm:spPr/>
    </dgm:pt>
    <dgm:pt modelId="{1777ED9B-E174-40F0-B13B-C3EEC12AA822}" type="pres">
      <dgm:prSet presAssocID="{A85E0DD1-C6C4-4D83-BF03-D00024E172CB}" presName="parentText" presStyleLbl="node1" presStyleIdx="4" presStyleCnt="5" custScaleY="45377">
        <dgm:presLayoutVars>
          <dgm:chMax val="1"/>
          <dgm:bulletEnabled val="1"/>
        </dgm:presLayoutVars>
      </dgm:prSet>
      <dgm:spPr/>
    </dgm:pt>
    <dgm:pt modelId="{2EECC300-BF5A-48AB-84B9-AA7FFBA14884}" type="pres">
      <dgm:prSet presAssocID="{A85E0DD1-C6C4-4D83-BF03-D00024E172CB}" presName="descendantText" presStyleLbl="alignAccFollowNode1" presStyleIdx="4" presStyleCnt="5" custScaleY="43787">
        <dgm:presLayoutVars>
          <dgm:bulletEnabled val="1"/>
        </dgm:presLayoutVars>
      </dgm:prSet>
      <dgm:spPr/>
    </dgm:pt>
  </dgm:ptLst>
  <dgm:cxnLst>
    <dgm:cxn modelId="{ECF40022-946E-419B-BBA5-4FA375FAD9DD}" type="presOf" srcId="{2B5F5839-2386-40C9-B265-B4E75404B35F}" destId="{C3AC3067-7AE3-436C-8183-035777957537}" srcOrd="0" destOrd="0" presId="urn:microsoft.com/office/officeart/2005/8/layout/vList5"/>
    <dgm:cxn modelId="{56271E26-4161-4A74-ADEC-742E1C2F3C15}" srcId="{0792C698-01CA-472E-950D-51F9591D5967}" destId="{27857F77-63A9-4850-836D-05192F21E2FC}" srcOrd="0" destOrd="0" parTransId="{868AEC0D-C4AC-4FFC-A8F1-5C7165C9E45A}" sibTransId="{CC1F4474-560B-4F94-BEA1-BAF367F9421C}"/>
    <dgm:cxn modelId="{FBCF4727-2998-4D1E-A7B6-8B4CB3E71886}" srcId="{C3BAE8DF-FE77-4711-ABDE-F2115DCA05CE}" destId="{3E9A8CAB-2307-4A71-A17E-446BA406DB8C}" srcOrd="0" destOrd="0" parTransId="{F7FBBD54-01B4-4420-A346-072C8974EFC0}" sibTransId="{A172D863-5D3A-4594-B551-23FBC3BFD764}"/>
    <dgm:cxn modelId="{E229C63E-B254-43A7-9324-F06B07DA1930}" type="presOf" srcId="{A85E0DD1-C6C4-4D83-BF03-D00024E172CB}" destId="{1777ED9B-E174-40F0-B13B-C3EEC12AA822}" srcOrd="0" destOrd="0" presId="urn:microsoft.com/office/officeart/2005/8/layout/vList5"/>
    <dgm:cxn modelId="{68771340-0F29-4542-803D-305FF7AD39AA}" type="presOf" srcId="{CCA53E91-27AF-409F-A621-317A88E604F5}" destId="{93CEB5E8-BD49-47C9-8111-C2E5940C21F7}" srcOrd="0" destOrd="0" presId="urn:microsoft.com/office/officeart/2005/8/layout/vList5"/>
    <dgm:cxn modelId="{8DE4D05F-2A02-4C27-A8A6-8A2825C00B38}" srcId="{0792C698-01CA-472E-950D-51F9591D5967}" destId="{A85E0DD1-C6C4-4D83-BF03-D00024E172CB}" srcOrd="4" destOrd="0" parTransId="{FE7F67DC-2E53-41F6-A6BE-92B3C307F341}" sibTransId="{4A06D066-1645-4BE5-B4EC-A4A827EDBC95}"/>
    <dgm:cxn modelId="{82C01C43-2173-4FD4-AAF0-4968ADCD4CF9}" srcId="{683703F4-3B56-431B-BC9C-0A04BA475C05}" destId="{BB8C102C-105D-4BBA-B043-24C194BCF390}" srcOrd="0" destOrd="0" parTransId="{2F29F0AE-9F30-496E-B9F2-9E64C3203AFF}" sibTransId="{0F05E1BF-132D-4077-9857-82A19CAA371F}"/>
    <dgm:cxn modelId="{E3F6F369-9814-40E1-B56F-D54E048368E8}" srcId="{0792C698-01CA-472E-950D-51F9591D5967}" destId="{80086800-98CE-400F-9DAD-BB3D85E251B0}" srcOrd="1" destOrd="0" parTransId="{BE4EB824-0BED-4E87-88CE-B22ACDB96463}" sibTransId="{9AD784D5-BEC4-41CD-8E01-75E0FCA5A823}"/>
    <dgm:cxn modelId="{88AF1B6E-AEA0-449A-ADBA-94CE65AB16E3}" type="presOf" srcId="{C3BAE8DF-FE77-4711-ABDE-F2115DCA05CE}" destId="{0C416C2C-D66F-459F-91ED-34CB141140AD}" srcOrd="0" destOrd="0" presId="urn:microsoft.com/office/officeart/2005/8/layout/vList5"/>
    <dgm:cxn modelId="{BA502D6F-579E-43CC-9411-AD6591EA8180}" type="presOf" srcId="{D9F1C15D-CE9D-49C4-BF7F-524AD2DA0BA9}" destId="{55008F07-2E45-492A-95AF-F8A244DA26B8}" srcOrd="0" destOrd="1" presId="urn:microsoft.com/office/officeart/2005/8/layout/vList5"/>
    <dgm:cxn modelId="{1F73464F-88C2-4AA0-A322-73BAFD30C0AB}" srcId="{3E9A8CAB-2307-4A71-A17E-446BA406DB8C}" destId="{D9F1C15D-CE9D-49C4-BF7F-524AD2DA0BA9}" srcOrd="0" destOrd="0" parTransId="{AC59CE61-0B87-4352-9FE9-A800A1045A2E}" sibTransId="{DBFA9F08-78DC-4FB3-8711-64545A82E7BC}"/>
    <dgm:cxn modelId="{C722FA71-9ABF-4E78-BA98-CDAC54B75584}" srcId="{0792C698-01CA-472E-950D-51F9591D5967}" destId="{C3BAE8DF-FE77-4711-ABDE-F2115DCA05CE}" srcOrd="3" destOrd="0" parTransId="{A9AF79C2-1544-4197-9C1A-74BEC79528DC}" sibTransId="{E3242202-1C5A-4A7F-BABA-0EEDC9B0C870}"/>
    <dgm:cxn modelId="{E2490789-2EC2-4E8D-A4AF-CF8E6E8CDD59}" type="presOf" srcId="{0792C698-01CA-472E-950D-51F9591D5967}" destId="{0B5459C0-00CA-4372-89E8-D37D77AFC736}" srcOrd="0" destOrd="0" presId="urn:microsoft.com/office/officeart/2005/8/layout/vList5"/>
    <dgm:cxn modelId="{C420358F-302F-468F-B8C3-9FC8838948D9}" srcId="{80086800-98CE-400F-9DAD-BB3D85E251B0}" destId="{2B5F5839-2386-40C9-B265-B4E75404B35F}" srcOrd="0" destOrd="0" parTransId="{9FF377D0-12B1-40A8-97E9-CD19101AFD64}" sibTransId="{B4A3F896-D794-422F-8C4A-F6FD9AC1CC11}"/>
    <dgm:cxn modelId="{313BE498-AE6F-4171-8DEA-22F65C13E0E4}" type="presOf" srcId="{32E42CD9-5DA6-43D2-9457-7ACA2753D5EA}" destId="{2EECC300-BF5A-48AB-84B9-AA7FFBA14884}" srcOrd="0" destOrd="0" presId="urn:microsoft.com/office/officeart/2005/8/layout/vList5"/>
    <dgm:cxn modelId="{45A2B69B-E274-4D36-AA68-A8400453F576}" srcId="{A85E0DD1-C6C4-4D83-BF03-D00024E172CB}" destId="{32E42CD9-5DA6-43D2-9457-7ACA2753D5EA}" srcOrd="0" destOrd="0" parTransId="{5FB1990A-572A-4DD2-B023-E350E523C0E0}" sibTransId="{35076D48-FE4C-4B3B-805E-C12A327DBFFD}"/>
    <dgm:cxn modelId="{78DF78A2-AF32-48FC-8F28-860016937258}" srcId="{0792C698-01CA-472E-950D-51F9591D5967}" destId="{683703F4-3B56-431B-BC9C-0A04BA475C05}" srcOrd="2" destOrd="0" parTransId="{0B131B55-8057-4A17-A179-A9E100684F20}" sibTransId="{D78DCC03-91A7-48E6-9CA2-0EC9A320FB70}"/>
    <dgm:cxn modelId="{83D0AEA2-8035-4ABB-9833-7C7F16D49562}" type="presOf" srcId="{683703F4-3B56-431B-BC9C-0A04BA475C05}" destId="{7EBC1530-0B83-44D6-94B9-6E894E41449B}" srcOrd="0" destOrd="0" presId="urn:microsoft.com/office/officeart/2005/8/layout/vList5"/>
    <dgm:cxn modelId="{C3DE6EB0-93DF-4164-90DE-B5988BE6E4E3}" type="presOf" srcId="{80086800-98CE-400F-9DAD-BB3D85E251B0}" destId="{50DA88A6-A998-4266-815A-5A3D434D37B6}" srcOrd="0" destOrd="0" presId="urn:microsoft.com/office/officeart/2005/8/layout/vList5"/>
    <dgm:cxn modelId="{4BF613D2-2AEF-4235-A43F-CF78A4ADC423}" type="presOf" srcId="{3E9A8CAB-2307-4A71-A17E-446BA406DB8C}" destId="{55008F07-2E45-492A-95AF-F8A244DA26B8}" srcOrd="0" destOrd="0" presId="urn:microsoft.com/office/officeart/2005/8/layout/vList5"/>
    <dgm:cxn modelId="{885E1FE6-3299-4EF0-A40A-5BE913315861}" type="presOf" srcId="{BB8C102C-105D-4BBA-B043-24C194BCF390}" destId="{3446EB98-0C2B-4924-A54B-EEBF14A66AFC}" srcOrd="0" destOrd="0" presId="urn:microsoft.com/office/officeart/2005/8/layout/vList5"/>
    <dgm:cxn modelId="{47EB85EF-E35A-4B11-B517-0802E1D5A166}" srcId="{27857F77-63A9-4850-836D-05192F21E2FC}" destId="{CCA53E91-27AF-409F-A621-317A88E604F5}" srcOrd="0" destOrd="0" parTransId="{6A74735F-E6DD-4740-A68E-F8DA181B1F68}" sibTransId="{3D78DD48-B2B6-477D-B79F-7D701C1DA5A7}"/>
    <dgm:cxn modelId="{2C1946F3-6498-4714-BAD8-361A73F6B4AB}" type="presOf" srcId="{27857F77-63A9-4850-836D-05192F21E2FC}" destId="{4F3103D8-F6EA-4113-9D22-F995D226426F}" srcOrd="0" destOrd="0" presId="urn:microsoft.com/office/officeart/2005/8/layout/vList5"/>
    <dgm:cxn modelId="{40E39A9E-7825-4A79-A5DF-A7A6B9C94763}" type="presParOf" srcId="{0B5459C0-00CA-4372-89E8-D37D77AFC736}" destId="{68F88E68-E010-49A3-9222-22DB993A7B09}" srcOrd="0" destOrd="0" presId="urn:microsoft.com/office/officeart/2005/8/layout/vList5"/>
    <dgm:cxn modelId="{BE30A5FD-0542-42CF-AC82-4CDDD708D9D4}" type="presParOf" srcId="{68F88E68-E010-49A3-9222-22DB993A7B09}" destId="{4F3103D8-F6EA-4113-9D22-F995D226426F}" srcOrd="0" destOrd="0" presId="urn:microsoft.com/office/officeart/2005/8/layout/vList5"/>
    <dgm:cxn modelId="{4D076780-6580-4BDE-8AFC-175A10550B61}" type="presParOf" srcId="{68F88E68-E010-49A3-9222-22DB993A7B09}" destId="{93CEB5E8-BD49-47C9-8111-C2E5940C21F7}" srcOrd="1" destOrd="0" presId="urn:microsoft.com/office/officeart/2005/8/layout/vList5"/>
    <dgm:cxn modelId="{0FFF7923-F2A5-4EF6-9281-75576ACD5F47}" type="presParOf" srcId="{0B5459C0-00CA-4372-89E8-D37D77AFC736}" destId="{E27939A4-BE3C-48E9-9077-6A07704F58D7}" srcOrd="1" destOrd="0" presId="urn:microsoft.com/office/officeart/2005/8/layout/vList5"/>
    <dgm:cxn modelId="{97FE1F9C-2037-4A30-9371-94AC97133895}" type="presParOf" srcId="{0B5459C0-00CA-4372-89E8-D37D77AFC736}" destId="{45B07785-B530-42F4-8063-BF5D12FD3C2D}" srcOrd="2" destOrd="0" presId="urn:microsoft.com/office/officeart/2005/8/layout/vList5"/>
    <dgm:cxn modelId="{A7A904FB-1E15-488F-A385-74FE72B26660}" type="presParOf" srcId="{45B07785-B530-42F4-8063-BF5D12FD3C2D}" destId="{50DA88A6-A998-4266-815A-5A3D434D37B6}" srcOrd="0" destOrd="0" presId="urn:microsoft.com/office/officeart/2005/8/layout/vList5"/>
    <dgm:cxn modelId="{198D955A-67DF-4B1A-BF0E-904DDDF250CE}" type="presParOf" srcId="{45B07785-B530-42F4-8063-BF5D12FD3C2D}" destId="{C3AC3067-7AE3-436C-8183-035777957537}" srcOrd="1" destOrd="0" presId="urn:microsoft.com/office/officeart/2005/8/layout/vList5"/>
    <dgm:cxn modelId="{E4BC1422-61F1-4BAB-BEE9-2ABE6A77A8B3}" type="presParOf" srcId="{0B5459C0-00CA-4372-89E8-D37D77AFC736}" destId="{1B2A10BF-35BB-4C16-BDA0-3E3F540DDE31}" srcOrd="3" destOrd="0" presId="urn:microsoft.com/office/officeart/2005/8/layout/vList5"/>
    <dgm:cxn modelId="{13B9C0E3-5D9C-4764-9EC3-E9C6CE8C68BC}" type="presParOf" srcId="{0B5459C0-00CA-4372-89E8-D37D77AFC736}" destId="{75F57F3F-EA45-42CC-A920-29E8700F1C6F}" srcOrd="4" destOrd="0" presId="urn:microsoft.com/office/officeart/2005/8/layout/vList5"/>
    <dgm:cxn modelId="{D5CE1EF6-1E89-428B-8849-2B429518C9EB}" type="presParOf" srcId="{75F57F3F-EA45-42CC-A920-29E8700F1C6F}" destId="{7EBC1530-0B83-44D6-94B9-6E894E41449B}" srcOrd="0" destOrd="0" presId="urn:microsoft.com/office/officeart/2005/8/layout/vList5"/>
    <dgm:cxn modelId="{B39D767C-AC96-404D-9C41-C3B22F5D8FD7}" type="presParOf" srcId="{75F57F3F-EA45-42CC-A920-29E8700F1C6F}" destId="{3446EB98-0C2B-4924-A54B-EEBF14A66AFC}" srcOrd="1" destOrd="0" presId="urn:microsoft.com/office/officeart/2005/8/layout/vList5"/>
    <dgm:cxn modelId="{1054FEBA-349A-490F-A063-C52E31C56633}" type="presParOf" srcId="{0B5459C0-00CA-4372-89E8-D37D77AFC736}" destId="{0C5E0B1E-A131-4738-A4F9-02A7D8F08ECD}" srcOrd="5" destOrd="0" presId="urn:microsoft.com/office/officeart/2005/8/layout/vList5"/>
    <dgm:cxn modelId="{136C7DD1-C5EF-4AAF-9DDA-D302FD8619F0}" type="presParOf" srcId="{0B5459C0-00CA-4372-89E8-D37D77AFC736}" destId="{7B3EF2E1-7620-41E0-9451-DA5F07F0B26A}" srcOrd="6" destOrd="0" presId="urn:microsoft.com/office/officeart/2005/8/layout/vList5"/>
    <dgm:cxn modelId="{D247BD27-5B0B-44C1-BCF4-CDB3799851A6}" type="presParOf" srcId="{7B3EF2E1-7620-41E0-9451-DA5F07F0B26A}" destId="{0C416C2C-D66F-459F-91ED-34CB141140AD}" srcOrd="0" destOrd="0" presId="urn:microsoft.com/office/officeart/2005/8/layout/vList5"/>
    <dgm:cxn modelId="{2D8603EB-5F7E-4DE0-A3B2-0EEE2BFEB5F7}" type="presParOf" srcId="{7B3EF2E1-7620-41E0-9451-DA5F07F0B26A}" destId="{55008F07-2E45-492A-95AF-F8A244DA26B8}" srcOrd="1" destOrd="0" presId="urn:microsoft.com/office/officeart/2005/8/layout/vList5"/>
    <dgm:cxn modelId="{078E68B9-4E8B-421A-A36E-0E62A25C0EB8}" type="presParOf" srcId="{0B5459C0-00CA-4372-89E8-D37D77AFC736}" destId="{F0BE0664-6886-4B62-8D31-E1B3EFAB73C7}" srcOrd="7" destOrd="0" presId="urn:microsoft.com/office/officeart/2005/8/layout/vList5"/>
    <dgm:cxn modelId="{F04D5E1F-63A7-4C11-9F2A-D024D88AE6E9}" type="presParOf" srcId="{0B5459C0-00CA-4372-89E8-D37D77AFC736}" destId="{682364B2-E93F-441E-B656-7D2E0E80AD31}" srcOrd="8" destOrd="0" presId="urn:microsoft.com/office/officeart/2005/8/layout/vList5"/>
    <dgm:cxn modelId="{77AFE044-B393-4476-85D6-888D46DC70CE}" type="presParOf" srcId="{682364B2-E93F-441E-B656-7D2E0E80AD31}" destId="{1777ED9B-E174-40F0-B13B-C3EEC12AA822}" srcOrd="0" destOrd="0" presId="urn:microsoft.com/office/officeart/2005/8/layout/vList5"/>
    <dgm:cxn modelId="{36A6133E-CF90-492E-992B-724CE9A113D4}" type="presParOf" srcId="{682364B2-E93F-441E-B656-7D2E0E80AD31}" destId="{2EECC300-BF5A-48AB-84B9-AA7FFBA14884}"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792C698-01CA-472E-950D-51F9591D5967}"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sl-SI"/>
        </a:p>
      </dgm:t>
    </dgm:pt>
    <dgm:pt modelId="{27857F77-63A9-4850-836D-05192F21E2FC}">
      <dgm:prSet phldrT="[Text]"/>
      <dgm:spPr/>
      <dgm:t>
        <a:bodyPr/>
        <a:lstStyle/>
        <a:p>
          <a:r>
            <a:rPr lang="sl-SI" b="1" dirty="0"/>
            <a:t>Zeleni namen</a:t>
          </a:r>
        </a:p>
      </dgm:t>
    </dgm:pt>
    <dgm:pt modelId="{868AEC0D-C4AC-4FFC-A8F1-5C7165C9E45A}" type="parTrans" cxnId="{56271E26-4161-4A74-ADEC-742E1C2F3C15}">
      <dgm:prSet/>
      <dgm:spPr/>
      <dgm:t>
        <a:bodyPr/>
        <a:lstStyle/>
        <a:p>
          <a:endParaRPr lang="sl-SI"/>
        </a:p>
      </dgm:t>
    </dgm:pt>
    <dgm:pt modelId="{CC1F4474-560B-4F94-BEA1-BAF367F9421C}" type="sibTrans" cxnId="{56271E26-4161-4A74-ADEC-742E1C2F3C15}">
      <dgm:prSet/>
      <dgm:spPr/>
      <dgm:t>
        <a:bodyPr/>
        <a:lstStyle/>
        <a:p>
          <a:endParaRPr lang="sl-SI"/>
        </a:p>
      </dgm:t>
    </dgm:pt>
    <dgm:pt modelId="{CCA53E91-27AF-409F-A621-317A88E604F5}">
      <dgm:prSet phldrT="[Text]" custT="1"/>
      <dgm:spPr/>
      <dgm:t>
        <a:bodyPr/>
        <a:lstStyle/>
        <a:p>
          <a:r>
            <a:rPr lang="sl-SI" sz="1050" dirty="0">
              <a:solidFill>
                <a:srgbClr val="757575">
                  <a:hueOff val="0"/>
                  <a:satOff val="0"/>
                  <a:lumOff val="0"/>
                  <a:alphaOff val="0"/>
                </a:srgbClr>
              </a:solidFill>
              <a:latin typeface="Arial"/>
              <a:ea typeface="+mn-ea"/>
              <a:cs typeface="+mn-cs"/>
            </a:rPr>
            <a:t>Trajnostno gospodarjenje z vodami in odpadnimi vodami ter odpadki </a:t>
          </a:r>
          <a:endParaRPr lang="sl-SI" sz="1050" b="0" dirty="0"/>
        </a:p>
      </dgm:t>
    </dgm:pt>
    <dgm:pt modelId="{6A74735F-E6DD-4740-A68E-F8DA181B1F68}" type="parTrans" cxnId="{47EB85EF-E35A-4B11-B517-0802E1D5A166}">
      <dgm:prSet/>
      <dgm:spPr/>
      <dgm:t>
        <a:bodyPr/>
        <a:lstStyle/>
        <a:p>
          <a:endParaRPr lang="sl-SI"/>
        </a:p>
      </dgm:t>
    </dgm:pt>
    <dgm:pt modelId="{3D78DD48-B2B6-477D-B79F-7D701C1DA5A7}" type="sibTrans" cxnId="{47EB85EF-E35A-4B11-B517-0802E1D5A166}">
      <dgm:prSet/>
      <dgm:spPr/>
      <dgm:t>
        <a:bodyPr/>
        <a:lstStyle/>
        <a:p>
          <a:endParaRPr lang="sl-SI"/>
        </a:p>
      </dgm:t>
    </dgm:pt>
    <dgm:pt modelId="{80086800-98CE-400F-9DAD-BB3D85E251B0}">
      <dgm:prSet phldrT="[Text]"/>
      <dgm:spPr/>
      <dgm:t>
        <a:bodyPr/>
        <a:lstStyle/>
        <a:p>
          <a:r>
            <a:rPr lang="sl-SI" b="1"/>
            <a:t>Zelena vrsta investicije</a:t>
          </a:r>
          <a:endParaRPr lang="sl-SI"/>
        </a:p>
      </dgm:t>
    </dgm:pt>
    <dgm:pt modelId="{BE4EB824-0BED-4E87-88CE-B22ACDB96463}" type="parTrans" cxnId="{E3F6F369-9814-40E1-B56F-D54E048368E8}">
      <dgm:prSet/>
      <dgm:spPr/>
      <dgm:t>
        <a:bodyPr/>
        <a:lstStyle/>
        <a:p>
          <a:endParaRPr lang="sl-SI"/>
        </a:p>
      </dgm:t>
    </dgm:pt>
    <dgm:pt modelId="{9AD784D5-BEC4-41CD-8E01-75E0FCA5A823}" type="sibTrans" cxnId="{E3F6F369-9814-40E1-B56F-D54E048368E8}">
      <dgm:prSet/>
      <dgm:spPr/>
      <dgm:t>
        <a:bodyPr/>
        <a:lstStyle/>
        <a:p>
          <a:endParaRPr lang="sl-SI"/>
        </a:p>
      </dgm:t>
    </dgm:pt>
    <dgm:pt modelId="{2B5F5839-2386-40C9-B265-B4E75404B35F}">
      <dgm:prSet phldrT="[Text]" custT="1"/>
      <dgm:spPr/>
      <dgm:t>
        <a:bodyPr/>
        <a:lstStyle/>
        <a:p>
          <a:r>
            <a:rPr lang="sl-SI" sz="1000" dirty="0"/>
            <a:t>Predelava snovi iz nenevarnih odpadkov (5.9.številka aktivnosti iz EU Taksonomije)</a:t>
          </a:r>
        </a:p>
      </dgm:t>
    </dgm:pt>
    <dgm:pt modelId="{9FF377D0-12B1-40A8-97E9-CD19101AFD64}" type="parTrans" cxnId="{C420358F-302F-468F-B8C3-9FC8838948D9}">
      <dgm:prSet/>
      <dgm:spPr/>
      <dgm:t>
        <a:bodyPr/>
        <a:lstStyle/>
        <a:p>
          <a:endParaRPr lang="sl-SI"/>
        </a:p>
      </dgm:t>
    </dgm:pt>
    <dgm:pt modelId="{B4A3F896-D794-422F-8C4A-F6FD9AC1CC11}" type="sibTrans" cxnId="{C420358F-302F-468F-B8C3-9FC8838948D9}">
      <dgm:prSet/>
      <dgm:spPr/>
      <dgm:t>
        <a:bodyPr/>
        <a:lstStyle/>
        <a:p>
          <a:endParaRPr lang="sl-SI"/>
        </a:p>
      </dgm:t>
    </dgm:pt>
    <dgm:pt modelId="{683703F4-3B56-431B-BC9C-0A04BA475C05}">
      <dgm:prSet phldrT="[Text]"/>
      <dgm:spPr/>
      <dgm:t>
        <a:bodyPr/>
        <a:lstStyle/>
        <a:p>
          <a:r>
            <a:rPr lang="sl-SI" b="1"/>
            <a:t>Opis</a:t>
          </a:r>
          <a:endParaRPr lang="sl-SI"/>
        </a:p>
      </dgm:t>
    </dgm:pt>
    <dgm:pt modelId="{0B131B55-8057-4A17-A179-A9E100684F20}" type="parTrans" cxnId="{78DF78A2-AF32-48FC-8F28-860016937258}">
      <dgm:prSet/>
      <dgm:spPr/>
      <dgm:t>
        <a:bodyPr/>
        <a:lstStyle/>
        <a:p>
          <a:endParaRPr lang="sl-SI"/>
        </a:p>
      </dgm:t>
    </dgm:pt>
    <dgm:pt modelId="{D78DCC03-91A7-48E6-9CA2-0EC9A320FB70}" type="sibTrans" cxnId="{78DF78A2-AF32-48FC-8F28-860016937258}">
      <dgm:prSet/>
      <dgm:spPr/>
      <dgm:t>
        <a:bodyPr/>
        <a:lstStyle/>
        <a:p>
          <a:endParaRPr lang="sl-SI"/>
        </a:p>
      </dgm:t>
    </dgm:pt>
    <dgm:pt modelId="{BB8C102C-105D-4BBA-B043-24C194BCF390}">
      <dgm:prSet phldrT="[Text]" custT="1"/>
      <dgm:spPr/>
      <dgm:t>
        <a:bodyPr/>
        <a:lstStyle/>
        <a:p>
          <a:r>
            <a:rPr lang="sl-SI" sz="1000" dirty="0"/>
            <a:t>Gradnja in obratovanje objektov za sortiranje in predelavo ločeno zbranih tokov nenevarnih odpadkov v sekundarne surovine, ki vključujejo mehansko predelavo, razen za namene zasipanja. </a:t>
          </a:r>
        </a:p>
      </dgm:t>
    </dgm:pt>
    <dgm:pt modelId="{2F29F0AE-9F30-496E-B9F2-9E64C3203AFF}" type="parTrans" cxnId="{82C01C43-2173-4FD4-AAF0-4968ADCD4CF9}">
      <dgm:prSet/>
      <dgm:spPr/>
      <dgm:t>
        <a:bodyPr/>
        <a:lstStyle/>
        <a:p>
          <a:endParaRPr lang="sl-SI"/>
        </a:p>
      </dgm:t>
    </dgm:pt>
    <dgm:pt modelId="{0F05E1BF-132D-4077-9857-82A19CAA371F}" type="sibTrans" cxnId="{82C01C43-2173-4FD4-AAF0-4968ADCD4CF9}">
      <dgm:prSet/>
      <dgm:spPr/>
      <dgm:t>
        <a:bodyPr/>
        <a:lstStyle/>
        <a:p>
          <a:endParaRPr lang="sl-SI"/>
        </a:p>
      </dgm:t>
    </dgm:pt>
    <dgm:pt modelId="{C3BAE8DF-FE77-4711-ABDE-F2115DCA05CE}">
      <dgm:prSet/>
      <dgm:spPr/>
      <dgm:t>
        <a:bodyPr/>
        <a:lstStyle/>
        <a:p>
          <a:r>
            <a:rPr lang="sl-SI" b="1" dirty="0"/>
            <a:t>Pomembni kriteriji </a:t>
          </a:r>
          <a:endParaRPr lang="sl-SI" dirty="0"/>
        </a:p>
      </dgm:t>
    </dgm:pt>
    <dgm:pt modelId="{A9AF79C2-1544-4197-9C1A-74BEC79528DC}" type="parTrans" cxnId="{C722FA71-9ABF-4E78-BA98-CDAC54B75584}">
      <dgm:prSet/>
      <dgm:spPr/>
      <dgm:t>
        <a:bodyPr/>
        <a:lstStyle/>
        <a:p>
          <a:endParaRPr lang="sl-SI"/>
        </a:p>
      </dgm:t>
    </dgm:pt>
    <dgm:pt modelId="{E3242202-1C5A-4A7F-BABA-0EEDC9B0C870}" type="sibTrans" cxnId="{C722FA71-9ABF-4E78-BA98-CDAC54B75584}">
      <dgm:prSet/>
      <dgm:spPr/>
      <dgm:t>
        <a:bodyPr/>
        <a:lstStyle/>
        <a:p>
          <a:endParaRPr lang="sl-SI"/>
        </a:p>
      </dgm:t>
    </dgm:pt>
    <dgm:pt modelId="{3E9A8CAB-2307-4A71-A17E-446BA406DB8C}">
      <dgm:prSet custT="1"/>
      <dgm:spPr/>
      <dgm:t>
        <a:bodyPr/>
        <a:lstStyle/>
        <a:p>
          <a:r>
            <a:rPr lang="sl-SI" sz="900" dirty="0"/>
            <a:t>Z dejavnostjo se vsaj 50 % po teži predelanih ločeno zbranih nenevarnih odpadkov pretvori v sekundarne surovine, ki so primerne za nadomestitev primarnih materialov v proizvodnih procesih.</a:t>
          </a:r>
        </a:p>
      </dgm:t>
    </dgm:pt>
    <dgm:pt modelId="{F7FBBD54-01B4-4420-A346-072C8974EFC0}" type="parTrans" cxnId="{FBCF4727-2998-4D1E-A7B6-8B4CB3E71886}">
      <dgm:prSet/>
      <dgm:spPr/>
      <dgm:t>
        <a:bodyPr/>
        <a:lstStyle/>
        <a:p>
          <a:endParaRPr lang="sl-SI"/>
        </a:p>
      </dgm:t>
    </dgm:pt>
    <dgm:pt modelId="{A172D863-5D3A-4594-B551-23FBC3BFD764}" type="sibTrans" cxnId="{FBCF4727-2998-4D1E-A7B6-8B4CB3E71886}">
      <dgm:prSet/>
      <dgm:spPr/>
      <dgm:t>
        <a:bodyPr/>
        <a:lstStyle/>
        <a:p>
          <a:endParaRPr lang="sl-SI"/>
        </a:p>
      </dgm:t>
    </dgm:pt>
    <dgm:pt modelId="{D9F1C15D-CE9D-49C4-BF7F-524AD2DA0BA9}">
      <dgm:prSet custT="1"/>
      <dgm:spPr/>
      <dgm:t>
        <a:bodyPr/>
        <a:lstStyle/>
        <a:p>
          <a:pPr>
            <a:buFont typeface="Arial" panose="020B0604020202020204" pitchFamily="34" charset="0"/>
            <a:buChar char="-"/>
          </a:pPr>
          <a:endParaRPr lang="sl-SI" sz="800" dirty="0"/>
        </a:p>
      </dgm:t>
    </dgm:pt>
    <dgm:pt modelId="{AC59CE61-0B87-4352-9FE9-A800A1045A2E}" type="parTrans" cxnId="{1F73464F-88C2-4AA0-A322-73BAFD30C0AB}">
      <dgm:prSet/>
      <dgm:spPr/>
      <dgm:t>
        <a:bodyPr/>
        <a:lstStyle/>
        <a:p>
          <a:endParaRPr lang="sl-SI"/>
        </a:p>
      </dgm:t>
    </dgm:pt>
    <dgm:pt modelId="{DBFA9F08-78DC-4FB3-8711-64545A82E7BC}" type="sibTrans" cxnId="{1F73464F-88C2-4AA0-A322-73BAFD30C0AB}">
      <dgm:prSet/>
      <dgm:spPr/>
      <dgm:t>
        <a:bodyPr/>
        <a:lstStyle/>
        <a:p>
          <a:endParaRPr lang="sl-SI"/>
        </a:p>
      </dgm:t>
    </dgm:pt>
    <dgm:pt modelId="{A85E0DD1-C6C4-4D83-BF03-D00024E172CB}">
      <dgm:prSet/>
      <dgm:spPr/>
      <dgm:t>
        <a:bodyPr/>
        <a:lstStyle/>
        <a:p>
          <a:r>
            <a:rPr lang="sl-SI" b="1" dirty="0"/>
            <a:t>Višina investicije</a:t>
          </a:r>
        </a:p>
      </dgm:t>
    </dgm:pt>
    <dgm:pt modelId="{FE7F67DC-2E53-41F6-A6BE-92B3C307F341}" type="parTrans" cxnId="{8DE4D05F-2A02-4C27-A8A6-8A2825C00B38}">
      <dgm:prSet/>
      <dgm:spPr/>
      <dgm:t>
        <a:bodyPr/>
        <a:lstStyle/>
        <a:p>
          <a:endParaRPr lang="sl-SI"/>
        </a:p>
      </dgm:t>
    </dgm:pt>
    <dgm:pt modelId="{4A06D066-1645-4BE5-B4EC-A4A827EDBC95}" type="sibTrans" cxnId="{8DE4D05F-2A02-4C27-A8A6-8A2825C00B38}">
      <dgm:prSet/>
      <dgm:spPr/>
      <dgm:t>
        <a:bodyPr/>
        <a:lstStyle/>
        <a:p>
          <a:endParaRPr lang="sl-SI"/>
        </a:p>
      </dgm:t>
    </dgm:pt>
    <dgm:pt modelId="{32E42CD9-5DA6-43D2-9457-7ACA2753D5EA}">
      <dgm:prSet/>
      <dgm:spPr/>
      <dgm:t>
        <a:bodyPr/>
        <a:lstStyle/>
        <a:p>
          <a:endParaRPr lang="sl-SI"/>
        </a:p>
      </dgm:t>
    </dgm:pt>
    <dgm:pt modelId="{5FB1990A-572A-4DD2-B023-E350E523C0E0}" type="parTrans" cxnId="{45A2B69B-E274-4D36-AA68-A8400453F576}">
      <dgm:prSet/>
      <dgm:spPr/>
      <dgm:t>
        <a:bodyPr/>
        <a:lstStyle/>
        <a:p>
          <a:endParaRPr lang="sl-SI"/>
        </a:p>
      </dgm:t>
    </dgm:pt>
    <dgm:pt modelId="{35076D48-FE4C-4B3B-805E-C12A327DBFFD}" type="sibTrans" cxnId="{45A2B69B-E274-4D36-AA68-A8400453F576}">
      <dgm:prSet/>
      <dgm:spPr/>
      <dgm:t>
        <a:bodyPr/>
        <a:lstStyle/>
        <a:p>
          <a:endParaRPr lang="sl-SI"/>
        </a:p>
      </dgm:t>
    </dgm:pt>
    <dgm:pt modelId="{0B5459C0-00CA-4372-89E8-D37D77AFC736}" type="pres">
      <dgm:prSet presAssocID="{0792C698-01CA-472E-950D-51F9591D5967}" presName="Name0" presStyleCnt="0">
        <dgm:presLayoutVars>
          <dgm:dir/>
          <dgm:animLvl val="lvl"/>
          <dgm:resizeHandles val="exact"/>
        </dgm:presLayoutVars>
      </dgm:prSet>
      <dgm:spPr/>
    </dgm:pt>
    <dgm:pt modelId="{68F88E68-E010-49A3-9222-22DB993A7B09}" type="pres">
      <dgm:prSet presAssocID="{27857F77-63A9-4850-836D-05192F21E2FC}" presName="linNode" presStyleCnt="0"/>
      <dgm:spPr/>
    </dgm:pt>
    <dgm:pt modelId="{4F3103D8-F6EA-4113-9D22-F995D226426F}" type="pres">
      <dgm:prSet presAssocID="{27857F77-63A9-4850-836D-05192F21E2FC}" presName="parentText" presStyleLbl="node1" presStyleIdx="0" presStyleCnt="5" custScaleY="43337">
        <dgm:presLayoutVars>
          <dgm:chMax val="1"/>
          <dgm:bulletEnabled val="1"/>
        </dgm:presLayoutVars>
      </dgm:prSet>
      <dgm:spPr/>
    </dgm:pt>
    <dgm:pt modelId="{93CEB5E8-BD49-47C9-8111-C2E5940C21F7}" type="pres">
      <dgm:prSet presAssocID="{27857F77-63A9-4850-836D-05192F21E2FC}" presName="descendantText" presStyleLbl="alignAccFollowNode1" presStyleIdx="0" presStyleCnt="5" custScaleY="52295">
        <dgm:presLayoutVars>
          <dgm:bulletEnabled val="1"/>
        </dgm:presLayoutVars>
      </dgm:prSet>
      <dgm:spPr/>
    </dgm:pt>
    <dgm:pt modelId="{E27939A4-BE3C-48E9-9077-6A07704F58D7}" type="pres">
      <dgm:prSet presAssocID="{CC1F4474-560B-4F94-BEA1-BAF367F9421C}" presName="sp" presStyleCnt="0"/>
      <dgm:spPr/>
    </dgm:pt>
    <dgm:pt modelId="{45B07785-B530-42F4-8063-BF5D12FD3C2D}" type="pres">
      <dgm:prSet presAssocID="{80086800-98CE-400F-9DAD-BB3D85E251B0}" presName="linNode" presStyleCnt="0"/>
      <dgm:spPr/>
    </dgm:pt>
    <dgm:pt modelId="{50DA88A6-A998-4266-815A-5A3D434D37B6}" type="pres">
      <dgm:prSet presAssocID="{80086800-98CE-400F-9DAD-BB3D85E251B0}" presName="parentText" presStyleLbl="node1" presStyleIdx="1" presStyleCnt="5" custScaleY="50275">
        <dgm:presLayoutVars>
          <dgm:chMax val="1"/>
          <dgm:bulletEnabled val="1"/>
        </dgm:presLayoutVars>
      </dgm:prSet>
      <dgm:spPr/>
    </dgm:pt>
    <dgm:pt modelId="{C3AC3067-7AE3-436C-8183-035777957537}" type="pres">
      <dgm:prSet presAssocID="{80086800-98CE-400F-9DAD-BB3D85E251B0}" presName="descendantText" presStyleLbl="alignAccFollowNode1" presStyleIdx="1" presStyleCnt="5" custScaleY="67679">
        <dgm:presLayoutVars>
          <dgm:bulletEnabled val="1"/>
        </dgm:presLayoutVars>
      </dgm:prSet>
      <dgm:spPr/>
    </dgm:pt>
    <dgm:pt modelId="{1B2A10BF-35BB-4C16-BDA0-3E3F540DDE31}" type="pres">
      <dgm:prSet presAssocID="{9AD784D5-BEC4-41CD-8E01-75E0FCA5A823}" presName="sp" presStyleCnt="0"/>
      <dgm:spPr/>
    </dgm:pt>
    <dgm:pt modelId="{75F57F3F-EA45-42CC-A920-29E8700F1C6F}" type="pres">
      <dgm:prSet presAssocID="{683703F4-3B56-431B-BC9C-0A04BA475C05}" presName="linNode" presStyleCnt="0"/>
      <dgm:spPr/>
    </dgm:pt>
    <dgm:pt modelId="{7EBC1530-0B83-44D6-94B9-6E894E41449B}" type="pres">
      <dgm:prSet presAssocID="{683703F4-3B56-431B-BC9C-0A04BA475C05}" presName="parentText" presStyleLbl="node1" presStyleIdx="2" presStyleCnt="5" custScaleY="74387">
        <dgm:presLayoutVars>
          <dgm:chMax val="1"/>
          <dgm:bulletEnabled val="1"/>
        </dgm:presLayoutVars>
      </dgm:prSet>
      <dgm:spPr/>
    </dgm:pt>
    <dgm:pt modelId="{3446EB98-0C2B-4924-A54B-EEBF14A66AFC}" type="pres">
      <dgm:prSet presAssocID="{683703F4-3B56-431B-BC9C-0A04BA475C05}" presName="descendantText" presStyleLbl="alignAccFollowNode1" presStyleIdx="2" presStyleCnt="5" custScaleY="85556">
        <dgm:presLayoutVars>
          <dgm:bulletEnabled val="1"/>
        </dgm:presLayoutVars>
      </dgm:prSet>
      <dgm:spPr/>
    </dgm:pt>
    <dgm:pt modelId="{0C5E0B1E-A131-4738-A4F9-02A7D8F08ECD}" type="pres">
      <dgm:prSet presAssocID="{D78DCC03-91A7-48E6-9CA2-0EC9A320FB70}" presName="sp" presStyleCnt="0"/>
      <dgm:spPr/>
    </dgm:pt>
    <dgm:pt modelId="{7B3EF2E1-7620-41E0-9451-DA5F07F0B26A}" type="pres">
      <dgm:prSet presAssocID="{C3BAE8DF-FE77-4711-ABDE-F2115DCA05CE}" presName="linNode" presStyleCnt="0"/>
      <dgm:spPr/>
    </dgm:pt>
    <dgm:pt modelId="{0C416C2C-D66F-459F-91ED-34CB141140AD}" type="pres">
      <dgm:prSet presAssocID="{C3BAE8DF-FE77-4711-ABDE-F2115DCA05CE}" presName="parentText" presStyleLbl="node1" presStyleIdx="3" presStyleCnt="5" custScaleY="69653">
        <dgm:presLayoutVars>
          <dgm:chMax val="1"/>
          <dgm:bulletEnabled val="1"/>
        </dgm:presLayoutVars>
      </dgm:prSet>
      <dgm:spPr/>
    </dgm:pt>
    <dgm:pt modelId="{55008F07-2E45-492A-95AF-F8A244DA26B8}" type="pres">
      <dgm:prSet presAssocID="{C3BAE8DF-FE77-4711-ABDE-F2115DCA05CE}" presName="descendantText" presStyleLbl="alignAccFollowNode1" presStyleIdx="3" presStyleCnt="5" custScaleY="76089" custLinFactNeighborX="1852" custLinFactNeighborY="0">
        <dgm:presLayoutVars>
          <dgm:bulletEnabled val="1"/>
        </dgm:presLayoutVars>
      </dgm:prSet>
      <dgm:spPr/>
    </dgm:pt>
    <dgm:pt modelId="{F0BE0664-6886-4B62-8D31-E1B3EFAB73C7}" type="pres">
      <dgm:prSet presAssocID="{E3242202-1C5A-4A7F-BABA-0EEDC9B0C870}" presName="sp" presStyleCnt="0"/>
      <dgm:spPr/>
    </dgm:pt>
    <dgm:pt modelId="{682364B2-E93F-441E-B656-7D2E0E80AD31}" type="pres">
      <dgm:prSet presAssocID="{A85E0DD1-C6C4-4D83-BF03-D00024E172CB}" presName="linNode" presStyleCnt="0"/>
      <dgm:spPr/>
    </dgm:pt>
    <dgm:pt modelId="{1777ED9B-E174-40F0-B13B-C3EEC12AA822}" type="pres">
      <dgm:prSet presAssocID="{A85E0DD1-C6C4-4D83-BF03-D00024E172CB}" presName="parentText" presStyleLbl="node1" presStyleIdx="4" presStyleCnt="5" custScaleY="45377">
        <dgm:presLayoutVars>
          <dgm:chMax val="1"/>
          <dgm:bulletEnabled val="1"/>
        </dgm:presLayoutVars>
      </dgm:prSet>
      <dgm:spPr/>
    </dgm:pt>
    <dgm:pt modelId="{2EECC300-BF5A-48AB-84B9-AA7FFBA14884}" type="pres">
      <dgm:prSet presAssocID="{A85E0DD1-C6C4-4D83-BF03-D00024E172CB}" presName="descendantText" presStyleLbl="alignAccFollowNode1" presStyleIdx="4" presStyleCnt="5" custScaleY="43787">
        <dgm:presLayoutVars>
          <dgm:bulletEnabled val="1"/>
        </dgm:presLayoutVars>
      </dgm:prSet>
      <dgm:spPr/>
    </dgm:pt>
  </dgm:ptLst>
  <dgm:cxnLst>
    <dgm:cxn modelId="{ECF40022-946E-419B-BBA5-4FA375FAD9DD}" type="presOf" srcId="{2B5F5839-2386-40C9-B265-B4E75404B35F}" destId="{C3AC3067-7AE3-436C-8183-035777957537}" srcOrd="0" destOrd="0" presId="urn:microsoft.com/office/officeart/2005/8/layout/vList5"/>
    <dgm:cxn modelId="{56271E26-4161-4A74-ADEC-742E1C2F3C15}" srcId="{0792C698-01CA-472E-950D-51F9591D5967}" destId="{27857F77-63A9-4850-836D-05192F21E2FC}" srcOrd="0" destOrd="0" parTransId="{868AEC0D-C4AC-4FFC-A8F1-5C7165C9E45A}" sibTransId="{CC1F4474-560B-4F94-BEA1-BAF367F9421C}"/>
    <dgm:cxn modelId="{FBCF4727-2998-4D1E-A7B6-8B4CB3E71886}" srcId="{C3BAE8DF-FE77-4711-ABDE-F2115DCA05CE}" destId="{3E9A8CAB-2307-4A71-A17E-446BA406DB8C}" srcOrd="0" destOrd="0" parTransId="{F7FBBD54-01B4-4420-A346-072C8974EFC0}" sibTransId="{A172D863-5D3A-4594-B551-23FBC3BFD764}"/>
    <dgm:cxn modelId="{E229C63E-B254-43A7-9324-F06B07DA1930}" type="presOf" srcId="{A85E0DD1-C6C4-4D83-BF03-D00024E172CB}" destId="{1777ED9B-E174-40F0-B13B-C3EEC12AA822}" srcOrd="0" destOrd="0" presId="urn:microsoft.com/office/officeart/2005/8/layout/vList5"/>
    <dgm:cxn modelId="{68771340-0F29-4542-803D-305FF7AD39AA}" type="presOf" srcId="{CCA53E91-27AF-409F-A621-317A88E604F5}" destId="{93CEB5E8-BD49-47C9-8111-C2E5940C21F7}" srcOrd="0" destOrd="0" presId="urn:microsoft.com/office/officeart/2005/8/layout/vList5"/>
    <dgm:cxn modelId="{8DE4D05F-2A02-4C27-A8A6-8A2825C00B38}" srcId="{0792C698-01CA-472E-950D-51F9591D5967}" destId="{A85E0DD1-C6C4-4D83-BF03-D00024E172CB}" srcOrd="4" destOrd="0" parTransId="{FE7F67DC-2E53-41F6-A6BE-92B3C307F341}" sibTransId="{4A06D066-1645-4BE5-B4EC-A4A827EDBC95}"/>
    <dgm:cxn modelId="{82C01C43-2173-4FD4-AAF0-4968ADCD4CF9}" srcId="{683703F4-3B56-431B-BC9C-0A04BA475C05}" destId="{BB8C102C-105D-4BBA-B043-24C194BCF390}" srcOrd="0" destOrd="0" parTransId="{2F29F0AE-9F30-496E-B9F2-9E64C3203AFF}" sibTransId="{0F05E1BF-132D-4077-9857-82A19CAA371F}"/>
    <dgm:cxn modelId="{E3F6F369-9814-40E1-B56F-D54E048368E8}" srcId="{0792C698-01CA-472E-950D-51F9591D5967}" destId="{80086800-98CE-400F-9DAD-BB3D85E251B0}" srcOrd="1" destOrd="0" parTransId="{BE4EB824-0BED-4E87-88CE-B22ACDB96463}" sibTransId="{9AD784D5-BEC4-41CD-8E01-75E0FCA5A823}"/>
    <dgm:cxn modelId="{88AF1B6E-AEA0-449A-ADBA-94CE65AB16E3}" type="presOf" srcId="{C3BAE8DF-FE77-4711-ABDE-F2115DCA05CE}" destId="{0C416C2C-D66F-459F-91ED-34CB141140AD}" srcOrd="0" destOrd="0" presId="urn:microsoft.com/office/officeart/2005/8/layout/vList5"/>
    <dgm:cxn modelId="{BA502D6F-579E-43CC-9411-AD6591EA8180}" type="presOf" srcId="{D9F1C15D-CE9D-49C4-BF7F-524AD2DA0BA9}" destId="{55008F07-2E45-492A-95AF-F8A244DA26B8}" srcOrd="0" destOrd="1" presId="urn:microsoft.com/office/officeart/2005/8/layout/vList5"/>
    <dgm:cxn modelId="{1F73464F-88C2-4AA0-A322-73BAFD30C0AB}" srcId="{3E9A8CAB-2307-4A71-A17E-446BA406DB8C}" destId="{D9F1C15D-CE9D-49C4-BF7F-524AD2DA0BA9}" srcOrd="0" destOrd="0" parTransId="{AC59CE61-0B87-4352-9FE9-A800A1045A2E}" sibTransId="{DBFA9F08-78DC-4FB3-8711-64545A82E7BC}"/>
    <dgm:cxn modelId="{C722FA71-9ABF-4E78-BA98-CDAC54B75584}" srcId="{0792C698-01CA-472E-950D-51F9591D5967}" destId="{C3BAE8DF-FE77-4711-ABDE-F2115DCA05CE}" srcOrd="3" destOrd="0" parTransId="{A9AF79C2-1544-4197-9C1A-74BEC79528DC}" sibTransId="{E3242202-1C5A-4A7F-BABA-0EEDC9B0C870}"/>
    <dgm:cxn modelId="{E2490789-2EC2-4E8D-A4AF-CF8E6E8CDD59}" type="presOf" srcId="{0792C698-01CA-472E-950D-51F9591D5967}" destId="{0B5459C0-00CA-4372-89E8-D37D77AFC736}" srcOrd="0" destOrd="0" presId="urn:microsoft.com/office/officeart/2005/8/layout/vList5"/>
    <dgm:cxn modelId="{C420358F-302F-468F-B8C3-9FC8838948D9}" srcId="{80086800-98CE-400F-9DAD-BB3D85E251B0}" destId="{2B5F5839-2386-40C9-B265-B4E75404B35F}" srcOrd="0" destOrd="0" parTransId="{9FF377D0-12B1-40A8-97E9-CD19101AFD64}" sibTransId="{B4A3F896-D794-422F-8C4A-F6FD9AC1CC11}"/>
    <dgm:cxn modelId="{313BE498-AE6F-4171-8DEA-22F65C13E0E4}" type="presOf" srcId="{32E42CD9-5DA6-43D2-9457-7ACA2753D5EA}" destId="{2EECC300-BF5A-48AB-84B9-AA7FFBA14884}" srcOrd="0" destOrd="0" presId="urn:microsoft.com/office/officeart/2005/8/layout/vList5"/>
    <dgm:cxn modelId="{45A2B69B-E274-4D36-AA68-A8400453F576}" srcId="{A85E0DD1-C6C4-4D83-BF03-D00024E172CB}" destId="{32E42CD9-5DA6-43D2-9457-7ACA2753D5EA}" srcOrd="0" destOrd="0" parTransId="{5FB1990A-572A-4DD2-B023-E350E523C0E0}" sibTransId="{35076D48-FE4C-4B3B-805E-C12A327DBFFD}"/>
    <dgm:cxn modelId="{78DF78A2-AF32-48FC-8F28-860016937258}" srcId="{0792C698-01CA-472E-950D-51F9591D5967}" destId="{683703F4-3B56-431B-BC9C-0A04BA475C05}" srcOrd="2" destOrd="0" parTransId="{0B131B55-8057-4A17-A179-A9E100684F20}" sibTransId="{D78DCC03-91A7-48E6-9CA2-0EC9A320FB70}"/>
    <dgm:cxn modelId="{83D0AEA2-8035-4ABB-9833-7C7F16D49562}" type="presOf" srcId="{683703F4-3B56-431B-BC9C-0A04BA475C05}" destId="{7EBC1530-0B83-44D6-94B9-6E894E41449B}" srcOrd="0" destOrd="0" presId="urn:microsoft.com/office/officeart/2005/8/layout/vList5"/>
    <dgm:cxn modelId="{C3DE6EB0-93DF-4164-90DE-B5988BE6E4E3}" type="presOf" srcId="{80086800-98CE-400F-9DAD-BB3D85E251B0}" destId="{50DA88A6-A998-4266-815A-5A3D434D37B6}" srcOrd="0" destOrd="0" presId="urn:microsoft.com/office/officeart/2005/8/layout/vList5"/>
    <dgm:cxn modelId="{4BF613D2-2AEF-4235-A43F-CF78A4ADC423}" type="presOf" srcId="{3E9A8CAB-2307-4A71-A17E-446BA406DB8C}" destId="{55008F07-2E45-492A-95AF-F8A244DA26B8}" srcOrd="0" destOrd="0" presId="urn:microsoft.com/office/officeart/2005/8/layout/vList5"/>
    <dgm:cxn modelId="{885E1FE6-3299-4EF0-A40A-5BE913315861}" type="presOf" srcId="{BB8C102C-105D-4BBA-B043-24C194BCF390}" destId="{3446EB98-0C2B-4924-A54B-EEBF14A66AFC}" srcOrd="0" destOrd="0" presId="urn:microsoft.com/office/officeart/2005/8/layout/vList5"/>
    <dgm:cxn modelId="{47EB85EF-E35A-4B11-B517-0802E1D5A166}" srcId="{27857F77-63A9-4850-836D-05192F21E2FC}" destId="{CCA53E91-27AF-409F-A621-317A88E604F5}" srcOrd="0" destOrd="0" parTransId="{6A74735F-E6DD-4740-A68E-F8DA181B1F68}" sibTransId="{3D78DD48-B2B6-477D-B79F-7D701C1DA5A7}"/>
    <dgm:cxn modelId="{2C1946F3-6498-4714-BAD8-361A73F6B4AB}" type="presOf" srcId="{27857F77-63A9-4850-836D-05192F21E2FC}" destId="{4F3103D8-F6EA-4113-9D22-F995D226426F}" srcOrd="0" destOrd="0" presId="urn:microsoft.com/office/officeart/2005/8/layout/vList5"/>
    <dgm:cxn modelId="{40E39A9E-7825-4A79-A5DF-A7A6B9C94763}" type="presParOf" srcId="{0B5459C0-00CA-4372-89E8-D37D77AFC736}" destId="{68F88E68-E010-49A3-9222-22DB993A7B09}" srcOrd="0" destOrd="0" presId="urn:microsoft.com/office/officeart/2005/8/layout/vList5"/>
    <dgm:cxn modelId="{BE30A5FD-0542-42CF-AC82-4CDDD708D9D4}" type="presParOf" srcId="{68F88E68-E010-49A3-9222-22DB993A7B09}" destId="{4F3103D8-F6EA-4113-9D22-F995D226426F}" srcOrd="0" destOrd="0" presId="urn:microsoft.com/office/officeart/2005/8/layout/vList5"/>
    <dgm:cxn modelId="{4D076780-6580-4BDE-8AFC-175A10550B61}" type="presParOf" srcId="{68F88E68-E010-49A3-9222-22DB993A7B09}" destId="{93CEB5E8-BD49-47C9-8111-C2E5940C21F7}" srcOrd="1" destOrd="0" presId="urn:microsoft.com/office/officeart/2005/8/layout/vList5"/>
    <dgm:cxn modelId="{0FFF7923-F2A5-4EF6-9281-75576ACD5F47}" type="presParOf" srcId="{0B5459C0-00CA-4372-89E8-D37D77AFC736}" destId="{E27939A4-BE3C-48E9-9077-6A07704F58D7}" srcOrd="1" destOrd="0" presId="urn:microsoft.com/office/officeart/2005/8/layout/vList5"/>
    <dgm:cxn modelId="{97FE1F9C-2037-4A30-9371-94AC97133895}" type="presParOf" srcId="{0B5459C0-00CA-4372-89E8-D37D77AFC736}" destId="{45B07785-B530-42F4-8063-BF5D12FD3C2D}" srcOrd="2" destOrd="0" presId="urn:microsoft.com/office/officeart/2005/8/layout/vList5"/>
    <dgm:cxn modelId="{A7A904FB-1E15-488F-A385-74FE72B26660}" type="presParOf" srcId="{45B07785-B530-42F4-8063-BF5D12FD3C2D}" destId="{50DA88A6-A998-4266-815A-5A3D434D37B6}" srcOrd="0" destOrd="0" presId="urn:microsoft.com/office/officeart/2005/8/layout/vList5"/>
    <dgm:cxn modelId="{198D955A-67DF-4B1A-BF0E-904DDDF250CE}" type="presParOf" srcId="{45B07785-B530-42F4-8063-BF5D12FD3C2D}" destId="{C3AC3067-7AE3-436C-8183-035777957537}" srcOrd="1" destOrd="0" presId="urn:microsoft.com/office/officeart/2005/8/layout/vList5"/>
    <dgm:cxn modelId="{E4BC1422-61F1-4BAB-BEE9-2ABE6A77A8B3}" type="presParOf" srcId="{0B5459C0-00CA-4372-89E8-D37D77AFC736}" destId="{1B2A10BF-35BB-4C16-BDA0-3E3F540DDE31}" srcOrd="3" destOrd="0" presId="urn:microsoft.com/office/officeart/2005/8/layout/vList5"/>
    <dgm:cxn modelId="{13B9C0E3-5D9C-4764-9EC3-E9C6CE8C68BC}" type="presParOf" srcId="{0B5459C0-00CA-4372-89E8-D37D77AFC736}" destId="{75F57F3F-EA45-42CC-A920-29E8700F1C6F}" srcOrd="4" destOrd="0" presId="urn:microsoft.com/office/officeart/2005/8/layout/vList5"/>
    <dgm:cxn modelId="{D5CE1EF6-1E89-428B-8849-2B429518C9EB}" type="presParOf" srcId="{75F57F3F-EA45-42CC-A920-29E8700F1C6F}" destId="{7EBC1530-0B83-44D6-94B9-6E894E41449B}" srcOrd="0" destOrd="0" presId="urn:microsoft.com/office/officeart/2005/8/layout/vList5"/>
    <dgm:cxn modelId="{B39D767C-AC96-404D-9C41-C3B22F5D8FD7}" type="presParOf" srcId="{75F57F3F-EA45-42CC-A920-29E8700F1C6F}" destId="{3446EB98-0C2B-4924-A54B-EEBF14A66AFC}" srcOrd="1" destOrd="0" presId="urn:microsoft.com/office/officeart/2005/8/layout/vList5"/>
    <dgm:cxn modelId="{1054FEBA-349A-490F-A063-C52E31C56633}" type="presParOf" srcId="{0B5459C0-00CA-4372-89E8-D37D77AFC736}" destId="{0C5E0B1E-A131-4738-A4F9-02A7D8F08ECD}" srcOrd="5" destOrd="0" presId="urn:microsoft.com/office/officeart/2005/8/layout/vList5"/>
    <dgm:cxn modelId="{136C7DD1-C5EF-4AAF-9DDA-D302FD8619F0}" type="presParOf" srcId="{0B5459C0-00CA-4372-89E8-D37D77AFC736}" destId="{7B3EF2E1-7620-41E0-9451-DA5F07F0B26A}" srcOrd="6" destOrd="0" presId="urn:microsoft.com/office/officeart/2005/8/layout/vList5"/>
    <dgm:cxn modelId="{D247BD27-5B0B-44C1-BCF4-CDB3799851A6}" type="presParOf" srcId="{7B3EF2E1-7620-41E0-9451-DA5F07F0B26A}" destId="{0C416C2C-D66F-459F-91ED-34CB141140AD}" srcOrd="0" destOrd="0" presId="urn:microsoft.com/office/officeart/2005/8/layout/vList5"/>
    <dgm:cxn modelId="{2D8603EB-5F7E-4DE0-A3B2-0EEE2BFEB5F7}" type="presParOf" srcId="{7B3EF2E1-7620-41E0-9451-DA5F07F0B26A}" destId="{55008F07-2E45-492A-95AF-F8A244DA26B8}" srcOrd="1" destOrd="0" presId="urn:microsoft.com/office/officeart/2005/8/layout/vList5"/>
    <dgm:cxn modelId="{078E68B9-4E8B-421A-A36E-0E62A25C0EB8}" type="presParOf" srcId="{0B5459C0-00CA-4372-89E8-D37D77AFC736}" destId="{F0BE0664-6886-4B62-8D31-E1B3EFAB73C7}" srcOrd="7" destOrd="0" presId="urn:microsoft.com/office/officeart/2005/8/layout/vList5"/>
    <dgm:cxn modelId="{F04D5E1F-63A7-4C11-9F2A-D024D88AE6E9}" type="presParOf" srcId="{0B5459C0-00CA-4372-89E8-D37D77AFC736}" destId="{682364B2-E93F-441E-B656-7D2E0E80AD31}" srcOrd="8" destOrd="0" presId="urn:microsoft.com/office/officeart/2005/8/layout/vList5"/>
    <dgm:cxn modelId="{77AFE044-B393-4476-85D6-888D46DC70CE}" type="presParOf" srcId="{682364B2-E93F-441E-B656-7D2E0E80AD31}" destId="{1777ED9B-E174-40F0-B13B-C3EEC12AA822}" srcOrd="0" destOrd="0" presId="urn:microsoft.com/office/officeart/2005/8/layout/vList5"/>
    <dgm:cxn modelId="{36A6133E-CF90-492E-992B-724CE9A113D4}" type="presParOf" srcId="{682364B2-E93F-441E-B656-7D2E0E80AD31}" destId="{2EECC300-BF5A-48AB-84B9-AA7FFBA14884}"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E08169-87ED-4150-A7BB-50AD800CB331}">
      <dsp:nvSpPr>
        <dsp:cNvPr id="0" name=""/>
        <dsp:cNvSpPr/>
      </dsp:nvSpPr>
      <dsp:spPr>
        <a:xfrm>
          <a:off x="1480417" y="3516"/>
          <a:ext cx="1377785" cy="34444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sl-SI" sz="800" kern="1200" noProof="0" dirty="0"/>
            <a:t>Obnovljivi viri energije</a:t>
          </a:r>
        </a:p>
      </dsp:txBody>
      <dsp:txXfrm>
        <a:off x="1490505" y="13604"/>
        <a:ext cx="1357609" cy="324270"/>
      </dsp:txXfrm>
    </dsp:sp>
    <dsp:sp modelId="{62D399F5-0466-4209-A402-A49524C2F381}">
      <dsp:nvSpPr>
        <dsp:cNvPr id="0" name=""/>
        <dsp:cNvSpPr/>
      </dsp:nvSpPr>
      <dsp:spPr>
        <a:xfrm rot="5400000">
          <a:off x="2139171" y="378101"/>
          <a:ext cx="60278" cy="60278"/>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9331816-153D-47E7-984E-946DCDE86A86}">
      <dsp:nvSpPr>
        <dsp:cNvPr id="0" name=""/>
        <dsp:cNvSpPr/>
      </dsp:nvSpPr>
      <dsp:spPr>
        <a:xfrm>
          <a:off x="1480417" y="468519"/>
          <a:ext cx="1377785" cy="344446"/>
        </a:xfrm>
        <a:prstGeom prst="roundRect">
          <a:avLst>
            <a:gd name="adj" fmla="val 1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sl-SI" sz="700" kern="1200" noProof="0" dirty="0"/>
            <a:t>Proizvodnja električne energije s solarno </a:t>
          </a:r>
          <a:r>
            <a:rPr lang="sl-SI" sz="700" kern="1200" noProof="0" dirty="0" err="1"/>
            <a:t>fotovoltaično</a:t>
          </a:r>
          <a:r>
            <a:rPr lang="sl-SI" sz="700" kern="1200" noProof="0" dirty="0"/>
            <a:t> tehnologijo</a:t>
          </a:r>
        </a:p>
      </dsp:txBody>
      <dsp:txXfrm>
        <a:off x="1490505" y="478607"/>
        <a:ext cx="1357609" cy="324270"/>
      </dsp:txXfrm>
    </dsp:sp>
    <dsp:sp modelId="{D89F12CB-D340-496A-96CD-4B4A4DDF1DB7}">
      <dsp:nvSpPr>
        <dsp:cNvPr id="0" name=""/>
        <dsp:cNvSpPr/>
      </dsp:nvSpPr>
      <dsp:spPr>
        <a:xfrm rot="5400000">
          <a:off x="2139171" y="843104"/>
          <a:ext cx="60278" cy="60278"/>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2E8FC96-3F7B-4F0B-A46E-6DAB84DDAB70}">
      <dsp:nvSpPr>
        <dsp:cNvPr id="0" name=""/>
        <dsp:cNvSpPr/>
      </dsp:nvSpPr>
      <dsp:spPr>
        <a:xfrm>
          <a:off x="1480417" y="933521"/>
          <a:ext cx="1377785" cy="344446"/>
        </a:xfrm>
        <a:prstGeom prst="roundRect">
          <a:avLst>
            <a:gd name="adj" fmla="val 1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sl-SI" sz="700" kern="1200" noProof="0" dirty="0"/>
            <a:t>Proizvodnja električne energije s tehnologijo koncentrirane sončne energije</a:t>
          </a:r>
        </a:p>
      </dsp:txBody>
      <dsp:txXfrm>
        <a:off x="1490505" y="943609"/>
        <a:ext cx="1357609" cy="324270"/>
      </dsp:txXfrm>
    </dsp:sp>
    <dsp:sp modelId="{DA3902A2-B265-47FD-BA7A-009ACEE00A6F}">
      <dsp:nvSpPr>
        <dsp:cNvPr id="0" name=""/>
        <dsp:cNvSpPr/>
      </dsp:nvSpPr>
      <dsp:spPr>
        <a:xfrm rot="5400000">
          <a:off x="2139171" y="1308107"/>
          <a:ext cx="60278" cy="60278"/>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F26398F-FE7A-4C4B-A949-9DA1D18C26FE}">
      <dsp:nvSpPr>
        <dsp:cNvPr id="0" name=""/>
        <dsp:cNvSpPr/>
      </dsp:nvSpPr>
      <dsp:spPr>
        <a:xfrm>
          <a:off x="1480417" y="1398524"/>
          <a:ext cx="1377785" cy="344446"/>
        </a:xfrm>
        <a:prstGeom prst="roundRect">
          <a:avLst>
            <a:gd name="adj" fmla="val 1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sl-SI" sz="700" kern="1200" noProof="0" dirty="0"/>
            <a:t>Proizvodnja električne energije iz vetrne energije</a:t>
          </a:r>
        </a:p>
      </dsp:txBody>
      <dsp:txXfrm>
        <a:off x="1490505" y="1408612"/>
        <a:ext cx="1357609" cy="324270"/>
      </dsp:txXfrm>
    </dsp:sp>
    <dsp:sp modelId="{D17DE6ED-C6B4-42F9-9027-F474370FE366}">
      <dsp:nvSpPr>
        <dsp:cNvPr id="0" name=""/>
        <dsp:cNvSpPr/>
      </dsp:nvSpPr>
      <dsp:spPr>
        <a:xfrm rot="5400000">
          <a:off x="2139171" y="1773110"/>
          <a:ext cx="60278" cy="60278"/>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01DD107-26F6-42FE-876A-4A73A9780DE5}">
      <dsp:nvSpPr>
        <dsp:cNvPr id="0" name=""/>
        <dsp:cNvSpPr/>
      </dsp:nvSpPr>
      <dsp:spPr>
        <a:xfrm>
          <a:off x="1480417" y="1863527"/>
          <a:ext cx="1377785" cy="344446"/>
        </a:xfrm>
        <a:prstGeom prst="roundRect">
          <a:avLst>
            <a:gd name="adj" fmla="val 1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sl-SI" sz="700" kern="1200" noProof="0" dirty="0"/>
            <a:t>Proizvodnja električne energije iz vodne energije</a:t>
          </a:r>
        </a:p>
      </dsp:txBody>
      <dsp:txXfrm>
        <a:off x="1490505" y="1873615"/>
        <a:ext cx="1357609" cy="324270"/>
      </dsp:txXfrm>
    </dsp:sp>
    <dsp:sp modelId="{FBF0E29F-33F0-4B9E-908E-85D556C05D94}">
      <dsp:nvSpPr>
        <dsp:cNvPr id="0" name=""/>
        <dsp:cNvSpPr/>
      </dsp:nvSpPr>
      <dsp:spPr>
        <a:xfrm rot="5400000">
          <a:off x="2139171" y="2238112"/>
          <a:ext cx="60278" cy="60278"/>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B7561E6-B340-4CA0-956A-2DD9E63DD34A}">
      <dsp:nvSpPr>
        <dsp:cNvPr id="0" name=""/>
        <dsp:cNvSpPr/>
      </dsp:nvSpPr>
      <dsp:spPr>
        <a:xfrm>
          <a:off x="1480417" y="2328530"/>
          <a:ext cx="1377785" cy="344446"/>
        </a:xfrm>
        <a:prstGeom prst="roundRect">
          <a:avLst>
            <a:gd name="adj" fmla="val 1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sl-SI" sz="700" kern="1200" noProof="0" dirty="0"/>
            <a:t>Proizvodnja električne energije iz geotermalne energije</a:t>
          </a:r>
        </a:p>
      </dsp:txBody>
      <dsp:txXfrm>
        <a:off x="1490505" y="2338618"/>
        <a:ext cx="1357609" cy="324270"/>
      </dsp:txXfrm>
    </dsp:sp>
    <dsp:sp modelId="{51110EC9-57DC-42B5-B928-A085E0233937}">
      <dsp:nvSpPr>
        <dsp:cNvPr id="0" name=""/>
        <dsp:cNvSpPr/>
      </dsp:nvSpPr>
      <dsp:spPr>
        <a:xfrm rot="5400000">
          <a:off x="2139171" y="2703115"/>
          <a:ext cx="60278" cy="60278"/>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32E7172-BFB4-4900-84D4-5EF5E3714EB4}">
      <dsp:nvSpPr>
        <dsp:cNvPr id="0" name=""/>
        <dsp:cNvSpPr/>
      </dsp:nvSpPr>
      <dsp:spPr>
        <a:xfrm>
          <a:off x="1480417" y="2793532"/>
          <a:ext cx="1377785" cy="344446"/>
        </a:xfrm>
        <a:prstGeom prst="roundRect">
          <a:avLst>
            <a:gd name="adj" fmla="val 1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sl-SI" sz="700" kern="1200" noProof="0" dirty="0"/>
            <a:t>Proizvodnja električne energije iz bioenergije</a:t>
          </a:r>
        </a:p>
      </dsp:txBody>
      <dsp:txXfrm>
        <a:off x="1490505" y="2803620"/>
        <a:ext cx="1357609" cy="324270"/>
      </dsp:txXfrm>
    </dsp:sp>
    <dsp:sp modelId="{E44D9C3E-3F65-41F9-8443-BB762D6A894A}">
      <dsp:nvSpPr>
        <dsp:cNvPr id="0" name=""/>
        <dsp:cNvSpPr/>
      </dsp:nvSpPr>
      <dsp:spPr>
        <a:xfrm rot="5400000">
          <a:off x="2139171" y="3168118"/>
          <a:ext cx="60278" cy="60278"/>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CC57634-6E9F-46DC-B321-867E1C0E6957}">
      <dsp:nvSpPr>
        <dsp:cNvPr id="0" name=""/>
        <dsp:cNvSpPr/>
      </dsp:nvSpPr>
      <dsp:spPr>
        <a:xfrm>
          <a:off x="1480417" y="3258535"/>
          <a:ext cx="1377785" cy="344446"/>
        </a:xfrm>
        <a:prstGeom prst="roundRect">
          <a:avLst>
            <a:gd name="adj" fmla="val 1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sl-SI" sz="700" kern="1200" noProof="0" dirty="0"/>
            <a:t>Prenos in distribucija električne energije</a:t>
          </a:r>
        </a:p>
      </dsp:txBody>
      <dsp:txXfrm>
        <a:off x="1490505" y="3268623"/>
        <a:ext cx="1357609" cy="324270"/>
      </dsp:txXfrm>
    </dsp:sp>
    <dsp:sp modelId="{7C77D6BC-5C1B-48CF-9BEB-D016095371C6}">
      <dsp:nvSpPr>
        <dsp:cNvPr id="0" name=""/>
        <dsp:cNvSpPr/>
      </dsp:nvSpPr>
      <dsp:spPr>
        <a:xfrm rot="5400000">
          <a:off x="2139171" y="3633121"/>
          <a:ext cx="60278" cy="60278"/>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C88EC4F-0700-4970-A691-129A3C331A11}">
      <dsp:nvSpPr>
        <dsp:cNvPr id="0" name=""/>
        <dsp:cNvSpPr/>
      </dsp:nvSpPr>
      <dsp:spPr>
        <a:xfrm>
          <a:off x="1480417" y="3723538"/>
          <a:ext cx="1377785" cy="344446"/>
        </a:xfrm>
        <a:prstGeom prst="roundRect">
          <a:avLst>
            <a:gd name="adj" fmla="val 1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sl-SI" sz="700" kern="1200" noProof="0" dirty="0"/>
            <a:t>Soproizvodnja toplote/hladu in električne energije iz sončne energije</a:t>
          </a:r>
        </a:p>
      </dsp:txBody>
      <dsp:txXfrm>
        <a:off x="1490505" y="3733626"/>
        <a:ext cx="1357609" cy="324270"/>
      </dsp:txXfrm>
    </dsp:sp>
    <dsp:sp modelId="{2F1506C5-07B1-4EF3-9368-9BA3DCA9A4A5}">
      <dsp:nvSpPr>
        <dsp:cNvPr id="0" name=""/>
        <dsp:cNvSpPr/>
      </dsp:nvSpPr>
      <dsp:spPr>
        <a:xfrm rot="5400000">
          <a:off x="2139171" y="4098123"/>
          <a:ext cx="60278" cy="60278"/>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DFC1A79-652C-465F-98A5-30B420052E0E}">
      <dsp:nvSpPr>
        <dsp:cNvPr id="0" name=""/>
        <dsp:cNvSpPr/>
      </dsp:nvSpPr>
      <dsp:spPr>
        <a:xfrm>
          <a:off x="1480417" y="4188541"/>
          <a:ext cx="1377785" cy="344446"/>
        </a:xfrm>
        <a:prstGeom prst="roundRect">
          <a:avLst>
            <a:gd name="adj" fmla="val 1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sl-SI" sz="700" kern="1200" noProof="0" dirty="0"/>
            <a:t>Namestitev, vzdrževanje in popravilo tehnologij obnovljive energije</a:t>
          </a:r>
        </a:p>
      </dsp:txBody>
      <dsp:txXfrm>
        <a:off x="1490505" y="4198629"/>
        <a:ext cx="1357609" cy="324270"/>
      </dsp:txXfrm>
    </dsp:sp>
    <dsp:sp modelId="{A0AF9900-903F-41AB-96D5-E992F23E12A2}">
      <dsp:nvSpPr>
        <dsp:cNvPr id="0" name=""/>
        <dsp:cNvSpPr/>
      </dsp:nvSpPr>
      <dsp:spPr>
        <a:xfrm>
          <a:off x="3051093" y="3516"/>
          <a:ext cx="1377785" cy="34444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sl-SI" sz="800" kern="1200" noProof="0" dirty="0"/>
            <a:t>Zelena gradnja</a:t>
          </a:r>
        </a:p>
      </dsp:txBody>
      <dsp:txXfrm>
        <a:off x="3061181" y="13604"/>
        <a:ext cx="1357609" cy="324270"/>
      </dsp:txXfrm>
    </dsp:sp>
    <dsp:sp modelId="{33F2B346-3B87-4D73-AF92-4FF33AF15CBC}">
      <dsp:nvSpPr>
        <dsp:cNvPr id="0" name=""/>
        <dsp:cNvSpPr/>
      </dsp:nvSpPr>
      <dsp:spPr>
        <a:xfrm rot="5400000">
          <a:off x="3709847" y="378101"/>
          <a:ext cx="60278" cy="60278"/>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B2200FF-18B2-412B-B2CA-ABE0BCFD6D7A}">
      <dsp:nvSpPr>
        <dsp:cNvPr id="0" name=""/>
        <dsp:cNvSpPr/>
      </dsp:nvSpPr>
      <dsp:spPr>
        <a:xfrm>
          <a:off x="3051093" y="468519"/>
          <a:ext cx="1377785" cy="344446"/>
        </a:xfrm>
        <a:prstGeom prst="roundRect">
          <a:avLst>
            <a:gd name="adj" fmla="val 1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sl-SI" sz="700" kern="1200" noProof="0" dirty="0"/>
            <a:t>Gradnja novih stavb</a:t>
          </a:r>
        </a:p>
      </dsp:txBody>
      <dsp:txXfrm>
        <a:off x="3061181" y="478607"/>
        <a:ext cx="1357609" cy="324270"/>
      </dsp:txXfrm>
    </dsp:sp>
    <dsp:sp modelId="{289B096B-F6EC-4325-9DF5-2FC9A3A1443B}">
      <dsp:nvSpPr>
        <dsp:cNvPr id="0" name=""/>
        <dsp:cNvSpPr/>
      </dsp:nvSpPr>
      <dsp:spPr>
        <a:xfrm rot="5400000">
          <a:off x="3709847" y="843104"/>
          <a:ext cx="60278" cy="60278"/>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88E2EC1-8B54-44C0-8F8D-D70FA0129640}">
      <dsp:nvSpPr>
        <dsp:cNvPr id="0" name=""/>
        <dsp:cNvSpPr/>
      </dsp:nvSpPr>
      <dsp:spPr>
        <a:xfrm>
          <a:off x="3051093" y="933521"/>
          <a:ext cx="1377785" cy="344446"/>
        </a:xfrm>
        <a:prstGeom prst="roundRect">
          <a:avLst>
            <a:gd name="adj" fmla="val 1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sl-SI" sz="700" kern="1200" noProof="0" dirty="0"/>
            <a:t>Obnova obstoječih stavb</a:t>
          </a:r>
        </a:p>
      </dsp:txBody>
      <dsp:txXfrm>
        <a:off x="3061181" y="943609"/>
        <a:ext cx="1357609" cy="324270"/>
      </dsp:txXfrm>
    </dsp:sp>
    <dsp:sp modelId="{BA91AEB4-F16C-460B-BEEE-A64A44EE4434}">
      <dsp:nvSpPr>
        <dsp:cNvPr id="0" name=""/>
        <dsp:cNvSpPr/>
      </dsp:nvSpPr>
      <dsp:spPr>
        <a:xfrm rot="5400000">
          <a:off x="3709847" y="1308107"/>
          <a:ext cx="60278" cy="60278"/>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F71EB54-2069-4459-BDA0-A7BA62777D4C}">
      <dsp:nvSpPr>
        <dsp:cNvPr id="0" name=""/>
        <dsp:cNvSpPr/>
      </dsp:nvSpPr>
      <dsp:spPr>
        <a:xfrm>
          <a:off x="3051093" y="1398524"/>
          <a:ext cx="1377785" cy="344446"/>
        </a:xfrm>
        <a:prstGeom prst="roundRect">
          <a:avLst>
            <a:gd name="adj" fmla="val 1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sl-SI" sz="700" kern="1200" noProof="0" dirty="0"/>
            <a:t>Pridobitev in lastništvo stavb</a:t>
          </a:r>
        </a:p>
      </dsp:txBody>
      <dsp:txXfrm>
        <a:off x="3061181" y="1408612"/>
        <a:ext cx="1357609" cy="324270"/>
      </dsp:txXfrm>
    </dsp:sp>
    <dsp:sp modelId="{7A7C3A00-02FE-46CE-9EF5-987A3336BE26}">
      <dsp:nvSpPr>
        <dsp:cNvPr id="0" name=""/>
        <dsp:cNvSpPr/>
      </dsp:nvSpPr>
      <dsp:spPr>
        <a:xfrm>
          <a:off x="4621769" y="3516"/>
          <a:ext cx="1377785" cy="34444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sl-SI" sz="800" kern="1200" noProof="0" dirty="0"/>
            <a:t>Energetska učinkovitost</a:t>
          </a:r>
        </a:p>
      </dsp:txBody>
      <dsp:txXfrm>
        <a:off x="4631857" y="13604"/>
        <a:ext cx="1357609" cy="324270"/>
      </dsp:txXfrm>
    </dsp:sp>
    <dsp:sp modelId="{28B6514B-BA3F-463E-A3E5-76A64DFB0865}">
      <dsp:nvSpPr>
        <dsp:cNvPr id="0" name=""/>
        <dsp:cNvSpPr/>
      </dsp:nvSpPr>
      <dsp:spPr>
        <a:xfrm rot="5400000">
          <a:off x="5280522" y="378101"/>
          <a:ext cx="60278" cy="60278"/>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E3BDB29-D5A5-4B26-8F1A-08F78053D03E}">
      <dsp:nvSpPr>
        <dsp:cNvPr id="0" name=""/>
        <dsp:cNvSpPr/>
      </dsp:nvSpPr>
      <dsp:spPr>
        <a:xfrm>
          <a:off x="4621769" y="468519"/>
          <a:ext cx="1377785" cy="344446"/>
        </a:xfrm>
        <a:prstGeom prst="roundRect">
          <a:avLst>
            <a:gd name="adj" fmla="val 1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sl-SI" sz="700" kern="1200" noProof="0" dirty="0"/>
            <a:t>Proizvodnja baterij</a:t>
          </a:r>
        </a:p>
      </dsp:txBody>
      <dsp:txXfrm>
        <a:off x="4631857" y="478607"/>
        <a:ext cx="1357609" cy="324270"/>
      </dsp:txXfrm>
    </dsp:sp>
    <dsp:sp modelId="{43E90049-59B7-4A2E-9415-A1260C371810}">
      <dsp:nvSpPr>
        <dsp:cNvPr id="0" name=""/>
        <dsp:cNvSpPr/>
      </dsp:nvSpPr>
      <dsp:spPr>
        <a:xfrm rot="5400000">
          <a:off x="5280522" y="843104"/>
          <a:ext cx="60278" cy="60278"/>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C5674A5-3FE3-460E-93BB-AE44569D2D05}">
      <dsp:nvSpPr>
        <dsp:cNvPr id="0" name=""/>
        <dsp:cNvSpPr/>
      </dsp:nvSpPr>
      <dsp:spPr>
        <a:xfrm>
          <a:off x="4621769" y="933521"/>
          <a:ext cx="1377785" cy="344446"/>
        </a:xfrm>
        <a:prstGeom prst="roundRect">
          <a:avLst>
            <a:gd name="adj" fmla="val 1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sl-SI" sz="700" kern="1200" noProof="0" dirty="0"/>
            <a:t>Shranjevanje električne energije</a:t>
          </a:r>
        </a:p>
      </dsp:txBody>
      <dsp:txXfrm>
        <a:off x="4631857" y="943609"/>
        <a:ext cx="1357609" cy="324270"/>
      </dsp:txXfrm>
    </dsp:sp>
    <dsp:sp modelId="{BC0D717B-8B6A-4102-9BF0-34DB477A28F6}">
      <dsp:nvSpPr>
        <dsp:cNvPr id="0" name=""/>
        <dsp:cNvSpPr/>
      </dsp:nvSpPr>
      <dsp:spPr>
        <a:xfrm rot="5400000">
          <a:off x="5280522" y="1308107"/>
          <a:ext cx="60278" cy="60278"/>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9B98760-63CF-45A6-92BB-2C5AE1C126F0}">
      <dsp:nvSpPr>
        <dsp:cNvPr id="0" name=""/>
        <dsp:cNvSpPr/>
      </dsp:nvSpPr>
      <dsp:spPr>
        <a:xfrm>
          <a:off x="4621769" y="1398524"/>
          <a:ext cx="1377785" cy="344446"/>
        </a:xfrm>
        <a:prstGeom prst="roundRect">
          <a:avLst>
            <a:gd name="adj" fmla="val 1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sl-SI" sz="700" kern="1200" noProof="0" dirty="0"/>
            <a:t>Montaža in obratovanje električnih toplotnih črpalk</a:t>
          </a:r>
        </a:p>
      </dsp:txBody>
      <dsp:txXfrm>
        <a:off x="4631857" y="1408612"/>
        <a:ext cx="1357609" cy="324270"/>
      </dsp:txXfrm>
    </dsp:sp>
    <dsp:sp modelId="{BE537EA2-E376-4F65-A5C4-D8121D036D41}">
      <dsp:nvSpPr>
        <dsp:cNvPr id="0" name=""/>
        <dsp:cNvSpPr/>
      </dsp:nvSpPr>
      <dsp:spPr>
        <a:xfrm rot="5400000">
          <a:off x="5280522" y="1773110"/>
          <a:ext cx="60278" cy="60278"/>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9C95007-3A32-4A27-8BD9-14F1E9FCFEF8}">
      <dsp:nvSpPr>
        <dsp:cNvPr id="0" name=""/>
        <dsp:cNvSpPr/>
      </dsp:nvSpPr>
      <dsp:spPr>
        <a:xfrm>
          <a:off x="4621769" y="1863527"/>
          <a:ext cx="1377785" cy="344446"/>
        </a:xfrm>
        <a:prstGeom prst="roundRect">
          <a:avLst>
            <a:gd name="adj" fmla="val 1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sl-SI" sz="700" kern="1200" noProof="0" dirty="0"/>
            <a:t>Namestitev, vzdrževanje in popravilo opreme za energetsko učinkovitost</a:t>
          </a:r>
        </a:p>
      </dsp:txBody>
      <dsp:txXfrm>
        <a:off x="4631857" y="1873615"/>
        <a:ext cx="1357609" cy="324270"/>
      </dsp:txXfrm>
    </dsp:sp>
    <dsp:sp modelId="{D2B8707F-F7A5-4F22-9D8E-7C850E3F6457}">
      <dsp:nvSpPr>
        <dsp:cNvPr id="0" name=""/>
        <dsp:cNvSpPr/>
      </dsp:nvSpPr>
      <dsp:spPr>
        <a:xfrm>
          <a:off x="6192445" y="3516"/>
          <a:ext cx="1377785" cy="34444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sl-SI" sz="800" kern="1200" noProof="0" dirty="0"/>
            <a:t>Čist prevoz</a:t>
          </a:r>
        </a:p>
      </dsp:txBody>
      <dsp:txXfrm>
        <a:off x="6202533" y="13604"/>
        <a:ext cx="1357609" cy="324270"/>
      </dsp:txXfrm>
    </dsp:sp>
    <dsp:sp modelId="{4F6369DF-D95E-41B3-AAF2-7F91EEBDB9C1}">
      <dsp:nvSpPr>
        <dsp:cNvPr id="0" name=""/>
        <dsp:cNvSpPr/>
      </dsp:nvSpPr>
      <dsp:spPr>
        <a:xfrm rot="5400000">
          <a:off x="6851198" y="378101"/>
          <a:ext cx="60278" cy="60278"/>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BBB79C8-04EA-4784-8157-E35438E28907}">
      <dsp:nvSpPr>
        <dsp:cNvPr id="0" name=""/>
        <dsp:cNvSpPr/>
      </dsp:nvSpPr>
      <dsp:spPr>
        <a:xfrm>
          <a:off x="6192445" y="468519"/>
          <a:ext cx="1377785" cy="344446"/>
        </a:xfrm>
        <a:prstGeom prst="roundRect">
          <a:avLst>
            <a:gd name="adj" fmla="val 1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sl-SI" sz="700" kern="1200" noProof="0" dirty="0"/>
            <a:t>Potniški medkrajevni železniški promet</a:t>
          </a:r>
        </a:p>
      </dsp:txBody>
      <dsp:txXfrm>
        <a:off x="6202533" y="478607"/>
        <a:ext cx="1357609" cy="324270"/>
      </dsp:txXfrm>
    </dsp:sp>
    <dsp:sp modelId="{C2FC76D7-D76E-4E0D-98A6-E4FF6C6E684B}">
      <dsp:nvSpPr>
        <dsp:cNvPr id="0" name=""/>
        <dsp:cNvSpPr/>
      </dsp:nvSpPr>
      <dsp:spPr>
        <a:xfrm rot="5400000">
          <a:off x="6851198" y="843104"/>
          <a:ext cx="60278" cy="60278"/>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E0D7F2A-22C7-4885-A910-A599F0335DF3}">
      <dsp:nvSpPr>
        <dsp:cNvPr id="0" name=""/>
        <dsp:cNvSpPr/>
      </dsp:nvSpPr>
      <dsp:spPr>
        <a:xfrm>
          <a:off x="6192445" y="933521"/>
          <a:ext cx="1377785" cy="344446"/>
        </a:xfrm>
        <a:prstGeom prst="roundRect">
          <a:avLst>
            <a:gd name="adj" fmla="val 1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sl-SI" sz="700" kern="1200" noProof="0" dirty="0"/>
            <a:t>Železniški tovorni promet</a:t>
          </a:r>
        </a:p>
      </dsp:txBody>
      <dsp:txXfrm>
        <a:off x="6202533" y="943609"/>
        <a:ext cx="1357609" cy="324270"/>
      </dsp:txXfrm>
    </dsp:sp>
    <dsp:sp modelId="{5E492888-F11C-422D-BCBB-FC9700A7641F}">
      <dsp:nvSpPr>
        <dsp:cNvPr id="0" name=""/>
        <dsp:cNvSpPr/>
      </dsp:nvSpPr>
      <dsp:spPr>
        <a:xfrm rot="5400000">
          <a:off x="6851198" y="1308107"/>
          <a:ext cx="60278" cy="60278"/>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07B3220-C38D-4B26-A5AF-F8AC81467DDF}">
      <dsp:nvSpPr>
        <dsp:cNvPr id="0" name=""/>
        <dsp:cNvSpPr/>
      </dsp:nvSpPr>
      <dsp:spPr>
        <a:xfrm>
          <a:off x="6192445" y="1398524"/>
          <a:ext cx="1377785" cy="344446"/>
        </a:xfrm>
        <a:prstGeom prst="roundRect">
          <a:avLst>
            <a:gd name="adj" fmla="val 1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sl-SI" sz="700" kern="1200" noProof="0" dirty="0"/>
            <a:t>Mestni in primestni promet, cestni potniški promet</a:t>
          </a:r>
        </a:p>
      </dsp:txBody>
      <dsp:txXfrm>
        <a:off x="6202533" y="1408612"/>
        <a:ext cx="1357609" cy="324270"/>
      </dsp:txXfrm>
    </dsp:sp>
    <dsp:sp modelId="{7797D667-15FE-4CD5-AD16-B324867AF4A1}">
      <dsp:nvSpPr>
        <dsp:cNvPr id="0" name=""/>
        <dsp:cNvSpPr/>
      </dsp:nvSpPr>
      <dsp:spPr>
        <a:xfrm rot="5400000">
          <a:off x="6851198" y="1773110"/>
          <a:ext cx="60278" cy="60278"/>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1F52B8A-7466-4F59-80FA-25DB8C8D9CB9}">
      <dsp:nvSpPr>
        <dsp:cNvPr id="0" name=""/>
        <dsp:cNvSpPr/>
      </dsp:nvSpPr>
      <dsp:spPr>
        <a:xfrm>
          <a:off x="6192445" y="1863527"/>
          <a:ext cx="1377785" cy="344446"/>
        </a:xfrm>
        <a:prstGeom prst="roundRect">
          <a:avLst>
            <a:gd name="adj" fmla="val 1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sl-SI" sz="700" kern="1200" noProof="0" dirty="0"/>
            <a:t>Prevoz z motornimi kolesi, osebnimi avtomobili in lahkimi gospodarskimi vozili</a:t>
          </a:r>
        </a:p>
      </dsp:txBody>
      <dsp:txXfrm>
        <a:off x="6202533" y="1873615"/>
        <a:ext cx="1357609" cy="324270"/>
      </dsp:txXfrm>
    </dsp:sp>
    <dsp:sp modelId="{92023422-9181-4A5E-85EB-EBD5D8E8E69B}">
      <dsp:nvSpPr>
        <dsp:cNvPr id="0" name=""/>
        <dsp:cNvSpPr/>
      </dsp:nvSpPr>
      <dsp:spPr>
        <a:xfrm rot="5400000">
          <a:off x="6851198" y="2238112"/>
          <a:ext cx="60278" cy="60278"/>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0DB150D-F33C-4C54-A074-6D6F3D37E894}">
      <dsp:nvSpPr>
        <dsp:cNvPr id="0" name=""/>
        <dsp:cNvSpPr/>
      </dsp:nvSpPr>
      <dsp:spPr>
        <a:xfrm>
          <a:off x="6192445" y="2328530"/>
          <a:ext cx="1377785" cy="344446"/>
        </a:xfrm>
        <a:prstGeom prst="roundRect">
          <a:avLst>
            <a:gd name="adj" fmla="val 1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sl-SI" sz="700" kern="1200" noProof="0" dirty="0"/>
            <a:t>Infrastruktura za osebno mobilnost, kolesarsko logistiko</a:t>
          </a:r>
        </a:p>
      </dsp:txBody>
      <dsp:txXfrm>
        <a:off x="6202533" y="2338618"/>
        <a:ext cx="1357609" cy="324270"/>
      </dsp:txXfrm>
    </dsp:sp>
    <dsp:sp modelId="{B06B6D9B-6802-4F30-9326-34A8D07D2351}">
      <dsp:nvSpPr>
        <dsp:cNvPr id="0" name=""/>
        <dsp:cNvSpPr/>
      </dsp:nvSpPr>
      <dsp:spPr>
        <a:xfrm rot="5400000">
          <a:off x="6851198" y="2703115"/>
          <a:ext cx="60278" cy="60278"/>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3989FB8-3DF4-4760-8BD3-EDBEAA54C8E0}">
      <dsp:nvSpPr>
        <dsp:cNvPr id="0" name=""/>
        <dsp:cNvSpPr/>
      </dsp:nvSpPr>
      <dsp:spPr>
        <a:xfrm>
          <a:off x="6192445" y="2793532"/>
          <a:ext cx="1377785" cy="344446"/>
        </a:xfrm>
        <a:prstGeom prst="roundRect">
          <a:avLst>
            <a:gd name="adj" fmla="val 1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sl-SI" sz="700" kern="1200" noProof="0" dirty="0"/>
            <a:t>Infrastruktura za železniški promet</a:t>
          </a:r>
        </a:p>
      </dsp:txBody>
      <dsp:txXfrm>
        <a:off x="6202533" y="2803620"/>
        <a:ext cx="1357609" cy="324270"/>
      </dsp:txXfrm>
    </dsp:sp>
    <dsp:sp modelId="{DF4E2B2E-3BFA-4043-AC21-114A47BB2945}">
      <dsp:nvSpPr>
        <dsp:cNvPr id="0" name=""/>
        <dsp:cNvSpPr/>
      </dsp:nvSpPr>
      <dsp:spPr>
        <a:xfrm rot="5400000">
          <a:off x="6851198" y="3168118"/>
          <a:ext cx="60278" cy="60278"/>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D668B7E-87D6-4FC3-B785-77015E5F2DBD}">
      <dsp:nvSpPr>
        <dsp:cNvPr id="0" name=""/>
        <dsp:cNvSpPr/>
      </dsp:nvSpPr>
      <dsp:spPr>
        <a:xfrm>
          <a:off x="6192445" y="3258535"/>
          <a:ext cx="1377785" cy="344446"/>
        </a:xfrm>
        <a:prstGeom prst="roundRect">
          <a:avLst>
            <a:gd name="adj" fmla="val 1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sl-SI" sz="700" kern="1200" noProof="0" dirty="0"/>
            <a:t>Infrastruktura, ki omogoča </a:t>
          </a:r>
          <a:r>
            <a:rPr lang="sl-SI" sz="700" kern="1200" noProof="0" dirty="0" err="1"/>
            <a:t>nizkoogljični</a:t>
          </a:r>
          <a:r>
            <a:rPr lang="sl-SI" sz="700" kern="1200" noProof="0" dirty="0"/>
            <a:t> cestni promet in javni prevoz</a:t>
          </a:r>
        </a:p>
      </dsp:txBody>
      <dsp:txXfrm>
        <a:off x="6202533" y="3268623"/>
        <a:ext cx="1357609" cy="324270"/>
      </dsp:txXfrm>
    </dsp:sp>
    <dsp:sp modelId="{DBC3DA7E-5B64-4174-8EB9-C1C4D240E28F}">
      <dsp:nvSpPr>
        <dsp:cNvPr id="0" name=""/>
        <dsp:cNvSpPr/>
      </dsp:nvSpPr>
      <dsp:spPr>
        <a:xfrm>
          <a:off x="7763120" y="3516"/>
          <a:ext cx="1377785" cy="34444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sl-SI" sz="800" kern="1200" noProof="0" dirty="0"/>
            <a:t>Preprečevanje in nadzorovanje onesnaževanja</a:t>
          </a:r>
        </a:p>
      </dsp:txBody>
      <dsp:txXfrm>
        <a:off x="7773208" y="13604"/>
        <a:ext cx="1357609" cy="324270"/>
      </dsp:txXfrm>
    </dsp:sp>
    <dsp:sp modelId="{8E6FA1AE-5581-41A2-A807-12E3D4DC05B2}">
      <dsp:nvSpPr>
        <dsp:cNvPr id="0" name=""/>
        <dsp:cNvSpPr/>
      </dsp:nvSpPr>
      <dsp:spPr>
        <a:xfrm rot="5400000">
          <a:off x="8421874" y="378101"/>
          <a:ext cx="60278" cy="60278"/>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2750196-9690-40BA-BC74-0307C361B467}">
      <dsp:nvSpPr>
        <dsp:cNvPr id="0" name=""/>
        <dsp:cNvSpPr/>
      </dsp:nvSpPr>
      <dsp:spPr>
        <a:xfrm>
          <a:off x="7763120" y="468519"/>
          <a:ext cx="1377785" cy="344446"/>
        </a:xfrm>
        <a:prstGeom prst="roundRect">
          <a:avLst>
            <a:gd name="adj" fmla="val 1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sl-SI" sz="700" kern="1200" noProof="0" dirty="0"/>
            <a:t>Gradnja, razširitev in obratovanje sistemov za zbiranje, prečiščevanje in oskrbo z vodo</a:t>
          </a:r>
        </a:p>
      </dsp:txBody>
      <dsp:txXfrm>
        <a:off x="7773208" y="478607"/>
        <a:ext cx="1357609" cy="324270"/>
      </dsp:txXfrm>
    </dsp:sp>
    <dsp:sp modelId="{691D3FAF-20C1-4E68-934E-737812CE660A}">
      <dsp:nvSpPr>
        <dsp:cNvPr id="0" name=""/>
        <dsp:cNvSpPr/>
      </dsp:nvSpPr>
      <dsp:spPr>
        <a:xfrm rot="5400000">
          <a:off x="8421874" y="843104"/>
          <a:ext cx="60278" cy="60278"/>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896EF39-3810-41BD-883C-713B1D0369D6}">
      <dsp:nvSpPr>
        <dsp:cNvPr id="0" name=""/>
        <dsp:cNvSpPr/>
      </dsp:nvSpPr>
      <dsp:spPr>
        <a:xfrm>
          <a:off x="7763120" y="933521"/>
          <a:ext cx="1377785" cy="344446"/>
        </a:xfrm>
        <a:prstGeom prst="roundRect">
          <a:avLst>
            <a:gd name="adj" fmla="val 1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sl-SI" sz="700" kern="1200" noProof="0" dirty="0"/>
            <a:t>Obnova sistemov zbiranja, čiščenja in oskrbe z vodo</a:t>
          </a:r>
        </a:p>
      </dsp:txBody>
      <dsp:txXfrm>
        <a:off x="7773208" y="943609"/>
        <a:ext cx="1357609" cy="324270"/>
      </dsp:txXfrm>
    </dsp:sp>
    <dsp:sp modelId="{E5B5C7EF-7C36-40C1-98A4-7315C5929A98}">
      <dsp:nvSpPr>
        <dsp:cNvPr id="0" name=""/>
        <dsp:cNvSpPr/>
      </dsp:nvSpPr>
      <dsp:spPr>
        <a:xfrm rot="5400000">
          <a:off x="8421874" y="1308107"/>
          <a:ext cx="60278" cy="60278"/>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EDFA90B-ACD4-49C0-BFB8-203D583518DC}">
      <dsp:nvSpPr>
        <dsp:cNvPr id="0" name=""/>
        <dsp:cNvSpPr/>
      </dsp:nvSpPr>
      <dsp:spPr>
        <a:xfrm>
          <a:off x="7763120" y="1398524"/>
          <a:ext cx="1377785" cy="344446"/>
        </a:xfrm>
        <a:prstGeom prst="roundRect">
          <a:avLst>
            <a:gd name="adj" fmla="val 1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sl-SI" sz="700" kern="1200" noProof="0" dirty="0"/>
            <a:t>Gradnja, razširitev in obratovanje zbiranja in čiščenja odpadnih voda</a:t>
          </a:r>
        </a:p>
      </dsp:txBody>
      <dsp:txXfrm>
        <a:off x="7773208" y="1408612"/>
        <a:ext cx="1357609" cy="324270"/>
      </dsp:txXfrm>
    </dsp:sp>
    <dsp:sp modelId="{F0AA92C9-E204-49C9-B08E-DC632976E33E}">
      <dsp:nvSpPr>
        <dsp:cNvPr id="0" name=""/>
        <dsp:cNvSpPr/>
      </dsp:nvSpPr>
      <dsp:spPr>
        <a:xfrm rot="5400000">
          <a:off x="8421874" y="1773110"/>
          <a:ext cx="60278" cy="60278"/>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FD8E7F0-E6B0-4A59-AAA0-1E218C5CAF30}">
      <dsp:nvSpPr>
        <dsp:cNvPr id="0" name=""/>
        <dsp:cNvSpPr/>
      </dsp:nvSpPr>
      <dsp:spPr>
        <a:xfrm>
          <a:off x="7763120" y="1863527"/>
          <a:ext cx="1377785" cy="344446"/>
        </a:xfrm>
        <a:prstGeom prst="roundRect">
          <a:avLst>
            <a:gd name="adj" fmla="val 1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sl-SI" sz="700" kern="1200" noProof="0" dirty="0"/>
            <a:t>Obnova zbiranja in čiščenja odpadne vode</a:t>
          </a:r>
        </a:p>
      </dsp:txBody>
      <dsp:txXfrm>
        <a:off x="7773208" y="1873615"/>
        <a:ext cx="1357609" cy="324270"/>
      </dsp:txXfrm>
    </dsp:sp>
    <dsp:sp modelId="{3338D3DD-9342-435F-B608-B057E506EDA5}">
      <dsp:nvSpPr>
        <dsp:cNvPr id="0" name=""/>
        <dsp:cNvSpPr/>
      </dsp:nvSpPr>
      <dsp:spPr>
        <a:xfrm>
          <a:off x="9333796" y="3516"/>
          <a:ext cx="1377785" cy="34444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sl-SI" sz="800" kern="1200" noProof="0" dirty="0"/>
            <a:t>Trajnostno gospodarjenje z vodami in odpadnimi vodami</a:t>
          </a:r>
        </a:p>
      </dsp:txBody>
      <dsp:txXfrm>
        <a:off x="9343884" y="13604"/>
        <a:ext cx="1357609" cy="324270"/>
      </dsp:txXfrm>
    </dsp:sp>
    <dsp:sp modelId="{952AA319-092C-41B2-9CDB-A71F38AFFCB4}">
      <dsp:nvSpPr>
        <dsp:cNvPr id="0" name=""/>
        <dsp:cNvSpPr/>
      </dsp:nvSpPr>
      <dsp:spPr>
        <a:xfrm rot="5400000">
          <a:off x="9992550" y="378101"/>
          <a:ext cx="60278" cy="60278"/>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73DEE85-171C-4FB9-9C34-DD2A4EE570CD}">
      <dsp:nvSpPr>
        <dsp:cNvPr id="0" name=""/>
        <dsp:cNvSpPr/>
      </dsp:nvSpPr>
      <dsp:spPr>
        <a:xfrm>
          <a:off x="9333796" y="468519"/>
          <a:ext cx="1377785" cy="344446"/>
        </a:xfrm>
        <a:prstGeom prst="roundRect">
          <a:avLst>
            <a:gd name="adj" fmla="val 1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sl-SI" sz="700" kern="1200" noProof="0" dirty="0"/>
            <a:t>Proizvodnja toplote/hladu z uporabo odpadne toplote</a:t>
          </a:r>
        </a:p>
      </dsp:txBody>
      <dsp:txXfrm>
        <a:off x="9343884" y="478607"/>
        <a:ext cx="1357609" cy="324270"/>
      </dsp:txXfrm>
    </dsp:sp>
    <dsp:sp modelId="{9F4AB28A-7655-4EAD-A441-30FAE06CD8CA}">
      <dsp:nvSpPr>
        <dsp:cNvPr id="0" name=""/>
        <dsp:cNvSpPr/>
      </dsp:nvSpPr>
      <dsp:spPr>
        <a:xfrm rot="5400000">
          <a:off x="9992550" y="843104"/>
          <a:ext cx="60278" cy="60278"/>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B3D9373-A5B8-4825-9080-17A6F2E07016}">
      <dsp:nvSpPr>
        <dsp:cNvPr id="0" name=""/>
        <dsp:cNvSpPr/>
      </dsp:nvSpPr>
      <dsp:spPr>
        <a:xfrm>
          <a:off x="9333796" y="933521"/>
          <a:ext cx="1377785" cy="344446"/>
        </a:xfrm>
        <a:prstGeom prst="roundRect">
          <a:avLst>
            <a:gd name="adj" fmla="val 1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sl-SI" sz="700" kern="1200" noProof="0" dirty="0"/>
            <a:t>Zbiranje in prevoz nenevarnih odpadkov v ločenih frakcijah vira</a:t>
          </a:r>
        </a:p>
      </dsp:txBody>
      <dsp:txXfrm>
        <a:off x="9343884" y="943609"/>
        <a:ext cx="1357609" cy="324270"/>
      </dsp:txXfrm>
    </dsp:sp>
    <dsp:sp modelId="{3E0FC774-AF56-4A52-97C2-D0B73F52DBC1}">
      <dsp:nvSpPr>
        <dsp:cNvPr id="0" name=""/>
        <dsp:cNvSpPr/>
      </dsp:nvSpPr>
      <dsp:spPr>
        <a:xfrm rot="5400000">
          <a:off x="9992550" y="1308107"/>
          <a:ext cx="60278" cy="60278"/>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F510C69-8A41-4C7B-A1B3-98ACA4C30A40}">
      <dsp:nvSpPr>
        <dsp:cNvPr id="0" name=""/>
        <dsp:cNvSpPr/>
      </dsp:nvSpPr>
      <dsp:spPr>
        <a:xfrm>
          <a:off x="9333796" y="1398524"/>
          <a:ext cx="1377785" cy="344446"/>
        </a:xfrm>
        <a:prstGeom prst="roundRect">
          <a:avLst>
            <a:gd name="adj" fmla="val 1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sl-SI" sz="700" kern="1200" noProof="0" dirty="0"/>
            <a:t>Predelava snovi iz nenevarnih odpadkov</a:t>
          </a:r>
        </a:p>
      </dsp:txBody>
      <dsp:txXfrm>
        <a:off x="9343884" y="1408612"/>
        <a:ext cx="1357609" cy="32427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CEB5E8-BD49-47C9-8111-C2E5940C21F7}">
      <dsp:nvSpPr>
        <dsp:cNvPr id="0" name=""/>
        <dsp:cNvSpPr/>
      </dsp:nvSpPr>
      <dsp:spPr>
        <a:xfrm rot="5400000">
          <a:off x="3904673" y="-2136250"/>
          <a:ext cx="538008" cy="4812285"/>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7160" tIns="68580" rIns="137160" bIns="68580" numCol="1" spcCol="1270" anchor="ctr" anchorCtr="0">
          <a:noAutofit/>
        </a:bodyPr>
        <a:lstStyle/>
        <a:p>
          <a:pPr marL="57150" lvl="1" indent="-57150" algn="l" defTabSz="466725">
            <a:lnSpc>
              <a:spcPct val="90000"/>
            </a:lnSpc>
            <a:spcBef>
              <a:spcPct val="0"/>
            </a:spcBef>
            <a:spcAft>
              <a:spcPct val="15000"/>
            </a:spcAft>
            <a:buChar char="•"/>
          </a:pPr>
          <a:r>
            <a:rPr lang="sl-SI" sz="1050" kern="1200"/>
            <a:t>Obnovljivi viri energije </a:t>
          </a:r>
          <a:endParaRPr lang="sl-SI" sz="1050" b="0" kern="1200"/>
        </a:p>
      </dsp:txBody>
      <dsp:txXfrm rot="-5400000">
        <a:off x="1767535" y="27151"/>
        <a:ext cx="4786022" cy="485482"/>
      </dsp:txXfrm>
    </dsp:sp>
    <dsp:sp modelId="{4F3103D8-F6EA-4113-9D22-F995D226426F}">
      <dsp:nvSpPr>
        <dsp:cNvPr id="0" name=""/>
        <dsp:cNvSpPr/>
      </dsp:nvSpPr>
      <dsp:spPr>
        <a:xfrm>
          <a:off x="138" y="2509"/>
          <a:ext cx="1767397" cy="53476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0955" rIns="41910" bIns="20955" numCol="1" spcCol="1270" anchor="ctr" anchorCtr="0">
          <a:noAutofit/>
        </a:bodyPr>
        <a:lstStyle/>
        <a:p>
          <a:pPr marL="0" lvl="0" indent="0" algn="ctr" defTabSz="488950">
            <a:lnSpc>
              <a:spcPct val="90000"/>
            </a:lnSpc>
            <a:spcBef>
              <a:spcPct val="0"/>
            </a:spcBef>
            <a:spcAft>
              <a:spcPct val="35000"/>
            </a:spcAft>
            <a:buNone/>
          </a:pPr>
          <a:r>
            <a:rPr lang="sl-SI" sz="1100" b="1" kern="1200" dirty="0"/>
            <a:t>Zeleni namen</a:t>
          </a:r>
        </a:p>
      </dsp:txBody>
      <dsp:txXfrm>
        <a:off x="26243" y="28614"/>
        <a:ext cx="1715187" cy="482556"/>
      </dsp:txXfrm>
    </dsp:sp>
    <dsp:sp modelId="{C3AC3067-7AE3-436C-8183-035777957537}">
      <dsp:nvSpPr>
        <dsp:cNvPr id="0" name=""/>
        <dsp:cNvSpPr/>
      </dsp:nvSpPr>
      <dsp:spPr>
        <a:xfrm rot="5400000">
          <a:off x="3917925" y="-1492616"/>
          <a:ext cx="457424" cy="4797098"/>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7160" tIns="68580" rIns="137160" bIns="68580" numCol="1" spcCol="1270" anchor="ctr" anchorCtr="0">
          <a:noAutofit/>
        </a:bodyPr>
        <a:lstStyle/>
        <a:p>
          <a:pPr marL="57150" lvl="1" indent="-57150" algn="l" defTabSz="444500">
            <a:lnSpc>
              <a:spcPct val="90000"/>
            </a:lnSpc>
            <a:spcBef>
              <a:spcPct val="0"/>
            </a:spcBef>
            <a:spcAft>
              <a:spcPct val="15000"/>
            </a:spcAft>
            <a:buChar char="•"/>
          </a:pPr>
          <a:r>
            <a:rPr lang="sl-SI" sz="1000" kern="1200" dirty="0"/>
            <a:t>Sončna elektrarna (.številka aktivnosti iz EU Taksonomije) </a:t>
          </a:r>
        </a:p>
      </dsp:txBody>
      <dsp:txXfrm rot="-5400000">
        <a:off x="1748088" y="699551"/>
        <a:ext cx="4774768" cy="412764"/>
      </dsp:txXfrm>
    </dsp:sp>
    <dsp:sp modelId="{50DA88A6-A998-4266-815A-5A3D434D37B6}">
      <dsp:nvSpPr>
        <dsp:cNvPr id="0" name=""/>
        <dsp:cNvSpPr/>
      </dsp:nvSpPr>
      <dsp:spPr>
        <a:xfrm>
          <a:off x="138" y="667150"/>
          <a:ext cx="1781277" cy="47756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0955" rIns="41910" bIns="20955" numCol="1" spcCol="1270" anchor="ctr" anchorCtr="0">
          <a:noAutofit/>
        </a:bodyPr>
        <a:lstStyle/>
        <a:p>
          <a:pPr marL="0" lvl="0" indent="0" algn="ctr" defTabSz="488950">
            <a:lnSpc>
              <a:spcPct val="90000"/>
            </a:lnSpc>
            <a:spcBef>
              <a:spcPct val="0"/>
            </a:spcBef>
            <a:spcAft>
              <a:spcPct val="35000"/>
            </a:spcAft>
            <a:buNone/>
          </a:pPr>
          <a:r>
            <a:rPr lang="sl-SI" sz="1100" b="1" kern="1200"/>
            <a:t>Zelena vrsta investicije</a:t>
          </a:r>
          <a:endParaRPr lang="sl-SI" sz="1100" kern="1200"/>
        </a:p>
      </dsp:txBody>
      <dsp:txXfrm>
        <a:off x="23451" y="690463"/>
        <a:ext cx="1734651" cy="430939"/>
      </dsp:txXfrm>
    </dsp:sp>
    <dsp:sp modelId="{3446EB98-0C2B-4924-A54B-EEBF14A66AFC}">
      <dsp:nvSpPr>
        <dsp:cNvPr id="0" name=""/>
        <dsp:cNvSpPr/>
      </dsp:nvSpPr>
      <dsp:spPr>
        <a:xfrm rot="5400000">
          <a:off x="3920953" y="-877699"/>
          <a:ext cx="480694" cy="4833797"/>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7160" tIns="68580" rIns="137160" bIns="68580" numCol="1" spcCol="1270" anchor="ctr" anchorCtr="0">
          <a:noAutofit/>
        </a:bodyPr>
        <a:lstStyle/>
        <a:p>
          <a:pPr marL="57150" lvl="1" indent="-57150" algn="l" defTabSz="444500">
            <a:lnSpc>
              <a:spcPct val="90000"/>
            </a:lnSpc>
            <a:spcBef>
              <a:spcPct val="0"/>
            </a:spcBef>
            <a:spcAft>
              <a:spcPct val="15000"/>
            </a:spcAft>
            <a:buChar char="•"/>
          </a:pPr>
          <a:r>
            <a:rPr lang="sl-SI" sz="1000" kern="1200"/>
            <a:t>Nakup in montaža sončne elektrarne</a:t>
          </a:r>
        </a:p>
      </dsp:txBody>
      <dsp:txXfrm rot="-5400000">
        <a:off x="1744402" y="1322318"/>
        <a:ext cx="4810331" cy="433762"/>
      </dsp:txXfrm>
    </dsp:sp>
    <dsp:sp modelId="{7EBC1530-0B83-44D6-94B9-6E894E41449B}">
      <dsp:nvSpPr>
        <dsp:cNvPr id="0" name=""/>
        <dsp:cNvSpPr/>
      </dsp:nvSpPr>
      <dsp:spPr>
        <a:xfrm>
          <a:off x="138" y="1272969"/>
          <a:ext cx="1744263" cy="532457"/>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0955" rIns="41910" bIns="20955" numCol="1" spcCol="1270" anchor="ctr" anchorCtr="0">
          <a:noAutofit/>
        </a:bodyPr>
        <a:lstStyle/>
        <a:p>
          <a:pPr marL="0" lvl="0" indent="0" algn="ctr" defTabSz="488950">
            <a:lnSpc>
              <a:spcPct val="90000"/>
            </a:lnSpc>
            <a:spcBef>
              <a:spcPct val="0"/>
            </a:spcBef>
            <a:spcAft>
              <a:spcPct val="35000"/>
            </a:spcAft>
            <a:buNone/>
          </a:pPr>
          <a:r>
            <a:rPr lang="sl-SI" sz="1100" b="1" kern="1200"/>
            <a:t>Opis</a:t>
          </a:r>
          <a:endParaRPr lang="sl-SI" sz="1100" kern="1200"/>
        </a:p>
      </dsp:txBody>
      <dsp:txXfrm>
        <a:off x="26130" y="1298961"/>
        <a:ext cx="1692279" cy="480473"/>
      </dsp:txXfrm>
    </dsp:sp>
    <dsp:sp modelId="{55008F07-2E45-492A-95AF-F8A244DA26B8}">
      <dsp:nvSpPr>
        <dsp:cNvPr id="0" name=""/>
        <dsp:cNvSpPr/>
      </dsp:nvSpPr>
      <dsp:spPr>
        <a:xfrm rot="5400000">
          <a:off x="3876681" y="-141898"/>
          <a:ext cx="580137" cy="4826875"/>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7160" tIns="68580" rIns="137160" bIns="68580" numCol="1" spcCol="1270" anchor="ctr" anchorCtr="0">
          <a:noAutofit/>
        </a:bodyPr>
        <a:lstStyle/>
        <a:p>
          <a:pPr marL="57150" lvl="1" indent="-57150" algn="l" defTabSz="400050">
            <a:lnSpc>
              <a:spcPct val="90000"/>
            </a:lnSpc>
            <a:spcBef>
              <a:spcPct val="0"/>
            </a:spcBef>
            <a:spcAft>
              <a:spcPct val="15000"/>
            </a:spcAft>
            <a:buChar char="•"/>
          </a:pPr>
          <a:r>
            <a:rPr lang="sl-SI" sz="900" kern="1200"/>
            <a:t>soglasje za priključitev in (pred)račun za sončno elektrarno</a:t>
          </a:r>
        </a:p>
        <a:p>
          <a:pPr marL="57150" lvl="1" indent="-57150" algn="l" defTabSz="400050">
            <a:lnSpc>
              <a:spcPct val="90000"/>
            </a:lnSpc>
            <a:spcBef>
              <a:spcPct val="0"/>
            </a:spcBef>
            <a:spcAft>
              <a:spcPct val="15000"/>
            </a:spcAft>
            <a:buChar char="•"/>
          </a:pPr>
          <a:r>
            <a:rPr lang="sl-SI" sz="900" kern="1200"/>
            <a:t>kapaciteta elektrarne v MW</a:t>
          </a:r>
        </a:p>
      </dsp:txBody>
      <dsp:txXfrm rot="-5400000">
        <a:off x="1753312" y="2009791"/>
        <a:ext cx="4798555" cy="523497"/>
      </dsp:txXfrm>
    </dsp:sp>
    <dsp:sp modelId="{0C416C2C-D66F-459F-91ED-34CB141140AD}">
      <dsp:nvSpPr>
        <dsp:cNvPr id="0" name=""/>
        <dsp:cNvSpPr/>
      </dsp:nvSpPr>
      <dsp:spPr>
        <a:xfrm>
          <a:off x="138" y="1933681"/>
          <a:ext cx="1748890" cy="675717"/>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0955" rIns="41910" bIns="20955" numCol="1" spcCol="1270" anchor="ctr" anchorCtr="0">
          <a:noAutofit/>
        </a:bodyPr>
        <a:lstStyle/>
        <a:p>
          <a:pPr marL="0" lvl="0" indent="0" algn="ctr" defTabSz="488950">
            <a:lnSpc>
              <a:spcPct val="90000"/>
            </a:lnSpc>
            <a:spcBef>
              <a:spcPct val="0"/>
            </a:spcBef>
            <a:spcAft>
              <a:spcPct val="35000"/>
            </a:spcAft>
            <a:buNone/>
          </a:pPr>
          <a:r>
            <a:rPr lang="sl-SI" sz="1100" b="1" kern="1200"/>
            <a:t>Podatki v dokumentaciji: </a:t>
          </a:r>
          <a:endParaRPr lang="sl-SI" sz="1100" kern="1200"/>
        </a:p>
      </dsp:txBody>
      <dsp:txXfrm>
        <a:off x="33124" y="1966667"/>
        <a:ext cx="1682918" cy="609745"/>
      </dsp:txXfrm>
    </dsp:sp>
    <dsp:sp modelId="{22DBC66B-C1E0-43DF-8C92-BA9CE4851B6E}">
      <dsp:nvSpPr>
        <dsp:cNvPr id="0" name=""/>
        <dsp:cNvSpPr/>
      </dsp:nvSpPr>
      <dsp:spPr>
        <a:xfrm rot="5400000">
          <a:off x="3696604" y="926412"/>
          <a:ext cx="964016" cy="4802875"/>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7160" tIns="68580" rIns="137160" bIns="68580" numCol="1" spcCol="1270" anchor="ctr" anchorCtr="0">
          <a:noAutofit/>
        </a:bodyPr>
        <a:lstStyle/>
        <a:p>
          <a:pPr marL="57150" lvl="1" indent="-57150" algn="l" defTabSz="444500">
            <a:lnSpc>
              <a:spcPct val="90000"/>
            </a:lnSpc>
            <a:spcBef>
              <a:spcPct val="0"/>
            </a:spcBef>
            <a:spcAft>
              <a:spcPct val="15000"/>
            </a:spcAft>
            <a:buFont typeface="Arial" panose="020B0604020202020204" pitchFamily="34" charset="0"/>
            <a:buChar char="-"/>
          </a:pPr>
          <a:r>
            <a:rPr lang="sl-SI" sz="1000" kern="1200"/>
            <a:t>predvidena letna proizvodnja v MWh: </a:t>
          </a:r>
        </a:p>
        <a:p>
          <a:pPr marL="57150" lvl="1" indent="-57150" algn="l" defTabSz="444500">
            <a:lnSpc>
              <a:spcPct val="90000"/>
            </a:lnSpc>
            <a:spcBef>
              <a:spcPct val="0"/>
            </a:spcBef>
            <a:spcAft>
              <a:spcPct val="15000"/>
            </a:spcAft>
            <a:buFont typeface="Arial" panose="020B0604020202020204" pitchFamily="34" charset="0"/>
            <a:buChar char="-"/>
          </a:pPr>
          <a:r>
            <a:rPr lang="sl-SI" sz="1000" kern="1200"/>
            <a:t>preprečene letne emisije toplogrednih plinov (v tonah ekvivalenta CO2)</a:t>
          </a:r>
        </a:p>
        <a:p>
          <a:pPr marL="57150" lvl="1" indent="-57150" algn="l" defTabSz="444500">
            <a:lnSpc>
              <a:spcPct val="90000"/>
            </a:lnSpc>
            <a:spcBef>
              <a:spcPct val="0"/>
            </a:spcBef>
            <a:spcAft>
              <a:spcPct val="15000"/>
            </a:spcAft>
            <a:buFont typeface="Arial" panose="020B0604020202020204" pitchFamily="34" charset="0"/>
            <a:buChar char="-"/>
          </a:pPr>
          <a:r>
            <a:rPr lang="sl-SI" sz="1000" kern="1200"/>
            <a:t>Ocena prihranka stroškov: </a:t>
          </a:r>
        </a:p>
      </dsp:txBody>
      <dsp:txXfrm rot="-5400000">
        <a:off x="1777175" y="2892901"/>
        <a:ext cx="4755816" cy="869898"/>
      </dsp:txXfrm>
    </dsp:sp>
    <dsp:sp modelId="{7103CB86-C6FE-4680-937A-D58DDA0FF35E}">
      <dsp:nvSpPr>
        <dsp:cNvPr id="0" name=""/>
        <dsp:cNvSpPr/>
      </dsp:nvSpPr>
      <dsp:spPr>
        <a:xfrm>
          <a:off x="138" y="2737652"/>
          <a:ext cx="1777036" cy="118039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0955" rIns="41910" bIns="20955" numCol="1" spcCol="1270" anchor="ctr" anchorCtr="0">
          <a:noAutofit/>
        </a:bodyPr>
        <a:lstStyle/>
        <a:p>
          <a:pPr marL="0" lvl="0" indent="0" algn="ctr" defTabSz="488950">
            <a:lnSpc>
              <a:spcPct val="90000"/>
            </a:lnSpc>
            <a:spcBef>
              <a:spcPct val="0"/>
            </a:spcBef>
            <a:spcAft>
              <a:spcPct val="35000"/>
            </a:spcAft>
            <a:buNone/>
          </a:pPr>
          <a:r>
            <a:rPr lang="en-US" sz="1100" b="1" kern="1200"/>
            <a:t>Ocenjeni vplivi (izračunani na podlagi greenchecker.eib.org):</a:t>
          </a:r>
          <a:endParaRPr lang="sl-SI" sz="1100" kern="1200"/>
        </a:p>
      </dsp:txBody>
      <dsp:txXfrm>
        <a:off x="57760" y="2795274"/>
        <a:ext cx="1661792" cy="1065151"/>
      </dsp:txXfrm>
    </dsp:sp>
    <dsp:sp modelId="{CEB1C85B-E1A5-4B21-894D-E343A225DA64}">
      <dsp:nvSpPr>
        <dsp:cNvPr id="0" name=""/>
        <dsp:cNvSpPr/>
      </dsp:nvSpPr>
      <dsp:spPr>
        <a:xfrm rot="5400000">
          <a:off x="3996634" y="1900296"/>
          <a:ext cx="382606" cy="4781323"/>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endParaRPr lang="sl-SI" sz="2000" kern="1200"/>
        </a:p>
      </dsp:txBody>
      <dsp:txXfrm rot="-5400000">
        <a:off x="1797276" y="4118332"/>
        <a:ext cx="4762646" cy="345252"/>
      </dsp:txXfrm>
    </dsp:sp>
    <dsp:sp modelId="{7C2D09F2-82AC-4C96-ADE8-1FA08835A17C}">
      <dsp:nvSpPr>
        <dsp:cNvPr id="0" name=""/>
        <dsp:cNvSpPr/>
      </dsp:nvSpPr>
      <dsp:spPr>
        <a:xfrm>
          <a:off x="138" y="4046301"/>
          <a:ext cx="1797137" cy="48931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0955" rIns="41910" bIns="20955" numCol="1" spcCol="1270" anchor="ctr" anchorCtr="0">
          <a:noAutofit/>
        </a:bodyPr>
        <a:lstStyle/>
        <a:p>
          <a:pPr marL="0" lvl="0" indent="0" algn="ctr" defTabSz="488950">
            <a:lnSpc>
              <a:spcPct val="90000"/>
            </a:lnSpc>
            <a:spcBef>
              <a:spcPct val="0"/>
            </a:spcBef>
            <a:spcAft>
              <a:spcPct val="35000"/>
            </a:spcAft>
            <a:buNone/>
          </a:pPr>
          <a:r>
            <a:rPr lang="sl-SI" sz="1100" b="1" kern="1200" dirty="0"/>
            <a:t>Višina investicije</a:t>
          </a:r>
        </a:p>
      </dsp:txBody>
      <dsp:txXfrm>
        <a:off x="24024" y="4070187"/>
        <a:ext cx="1749365" cy="44154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CEB5E8-BD49-47C9-8111-C2E5940C21F7}">
      <dsp:nvSpPr>
        <dsp:cNvPr id="0" name=""/>
        <dsp:cNvSpPr/>
      </dsp:nvSpPr>
      <dsp:spPr>
        <a:xfrm rot="5400000">
          <a:off x="4319153" y="-1943687"/>
          <a:ext cx="310748" cy="4211320"/>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57150" lvl="1" indent="-57150" algn="l" defTabSz="466725">
            <a:lnSpc>
              <a:spcPct val="90000"/>
            </a:lnSpc>
            <a:spcBef>
              <a:spcPct val="0"/>
            </a:spcBef>
            <a:spcAft>
              <a:spcPct val="15000"/>
            </a:spcAft>
            <a:buChar char="•"/>
          </a:pPr>
          <a:r>
            <a:rPr lang="sl-SI" sz="1050" b="0" kern="1200"/>
            <a:t>Energetska učinkovitost</a:t>
          </a:r>
        </a:p>
      </dsp:txBody>
      <dsp:txXfrm rot="-5400000">
        <a:off x="2368868" y="21767"/>
        <a:ext cx="4196151" cy="280410"/>
      </dsp:txXfrm>
    </dsp:sp>
    <dsp:sp modelId="{4F3103D8-F6EA-4113-9D22-F995D226426F}">
      <dsp:nvSpPr>
        <dsp:cNvPr id="0" name=""/>
        <dsp:cNvSpPr/>
      </dsp:nvSpPr>
      <dsp:spPr>
        <a:xfrm>
          <a:off x="0" y="1023"/>
          <a:ext cx="2368867" cy="321898"/>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22860" rIns="45720" bIns="22860" numCol="1" spcCol="1270" anchor="ctr" anchorCtr="0">
          <a:noAutofit/>
        </a:bodyPr>
        <a:lstStyle/>
        <a:p>
          <a:pPr marL="0" lvl="0" indent="0" algn="ctr" defTabSz="533400">
            <a:lnSpc>
              <a:spcPct val="90000"/>
            </a:lnSpc>
            <a:spcBef>
              <a:spcPct val="0"/>
            </a:spcBef>
            <a:spcAft>
              <a:spcPct val="35000"/>
            </a:spcAft>
            <a:buNone/>
          </a:pPr>
          <a:r>
            <a:rPr lang="sl-SI" sz="1200" b="1" kern="1200" dirty="0"/>
            <a:t>Zeleni namen</a:t>
          </a:r>
        </a:p>
      </dsp:txBody>
      <dsp:txXfrm>
        <a:off x="15714" y="16737"/>
        <a:ext cx="2337439" cy="290470"/>
      </dsp:txXfrm>
    </dsp:sp>
    <dsp:sp modelId="{C3AC3067-7AE3-436C-8183-035777957537}">
      <dsp:nvSpPr>
        <dsp:cNvPr id="0" name=""/>
        <dsp:cNvSpPr/>
      </dsp:nvSpPr>
      <dsp:spPr>
        <a:xfrm rot="5400000">
          <a:off x="4273445" y="-1544517"/>
          <a:ext cx="402164" cy="4211320"/>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57150" lvl="1" indent="-57150" algn="l" defTabSz="444500">
            <a:lnSpc>
              <a:spcPct val="90000"/>
            </a:lnSpc>
            <a:spcBef>
              <a:spcPct val="0"/>
            </a:spcBef>
            <a:spcAft>
              <a:spcPct val="15000"/>
            </a:spcAft>
            <a:buChar char="•"/>
          </a:pPr>
          <a:r>
            <a:rPr lang="sl-SI" sz="1000" kern="1200"/>
            <a:t>Namestitev, vzdrževanje in popravilo opreme za energetsko učinkovitost </a:t>
          </a:r>
        </a:p>
      </dsp:txBody>
      <dsp:txXfrm rot="-5400000">
        <a:off x="2368867" y="379693"/>
        <a:ext cx="4191688" cy="362900"/>
      </dsp:txXfrm>
    </dsp:sp>
    <dsp:sp modelId="{50DA88A6-A998-4266-815A-5A3D434D37B6}">
      <dsp:nvSpPr>
        <dsp:cNvPr id="0" name=""/>
        <dsp:cNvSpPr/>
      </dsp:nvSpPr>
      <dsp:spPr>
        <a:xfrm>
          <a:off x="0" y="374426"/>
          <a:ext cx="2368867" cy="373432"/>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22860" rIns="45720" bIns="22860" numCol="1" spcCol="1270" anchor="ctr" anchorCtr="0">
          <a:noAutofit/>
        </a:bodyPr>
        <a:lstStyle/>
        <a:p>
          <a:pPr marL="0" lvl="0" indent="0" algn="ctr" defTabSz="533400">
            <a:lnSpc>
              <a:spcPct val="90000"/>
            </a:lnSpc>
            <a:spcBef>
              <a:spcPct val="0"/>
            </a:spcBef>
            <a:spcAft>
              <a:spcPct val="35000"/>
            </a:spcAft>
            <a:buNone/>
          </a:pPr>
          <a:r>
            <a:rPr lang="sl-SI" sz="1200" b="1" kern="1200"/>
            <a:t>Zelena vrsta investicije</a:t>
          </a:r>
          <a:endParaRPr lang="sl-SI" sz="1200" kern="1200"/>
        </a:p>
      </dsp:txBody>
      <dsp:txXfrm>
        <a:off x="18229" y="392655"/>
        <a:ext cx="2332409" cy="336974"/>
      </dsp:txXfrm>
    </dsp:sp>
    <dsp:sp modelId="{3446EB98-0C2B-4924-A54B-EEBF14A66AFC}">
      <dsp:nvSpPr>
        <dsp:cNvPr id="0" name=""/>
        <dsp:cNvSpPr/>
      </dsp:nvSpPr>
      <dsp:spPr>
        <a:xfrm rot="5400000">
          <a:off x="4347123" y="-1130792"/>
          <a:ext cx="254808" cy="4211320"/>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57150" lvl="1" indent="-57150" algn="l" defTabSz="444500">
            <a:lnSpc>
              <a:spcPct val="90000"/>
            </a:lnSpc>
            <a:spcBef>
              <a:spcPct val="0"/>
            </a:spcBef>
            <a:spcAft>
              <a:spcPct val="15000"/>
            </a:spcAft>
            <a:buChar char="•"/>
          </a:pPr>
          <a:r>
            <a:rPr lang="sl-SI" sz="1000" kern="1200"/>
            <a:t>Nakup in menjava oken v obstoječi stavbi</a:t>
          </a:r>
        </a:p>
      </dsp:txBody>
      <dsp:txXfrm rot="-5400000">
        <a:off x="2368868" y="859902"/>
        <a:ext cx="4198881" cy="229930"/>
      </dsp:txXfrm>
    </dsp:sp>
    <dsp:sp modelId="{7EBC1530-0B83-44D6-94B9-6E894E41449B}">
      <dsp:nvSpPr>
        <dsp:cNvPr id="0" name=""/>
        <dsp:cNvSpPr/>
      </dsp:nvSpPr>
      <dsp:spPr>
        <a:xfrm>
          <a:off x="0" y="799363"/>
          <a:ext cx="2368867" cy="351007"/>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22860" rIns="45720" bIns="22860" numCol="1" spcCol="1270" anchor="ctr" anchorCtr="0">
          <a:noAutofit/>
        </a:bodyPr>
        <a:lstStyle/>
        <a:p>
          <a:pPr marL="0" lvl="0" indent="0" algn="ctr" defTabSz="533400">
            <a:lnSpc>
              <a:spcPct val="90000"/>
            </a:lnSpc>
            <a:spcBef>
              <a:spcPct val="0"/>
            </a:spcBef>
            <a:spcAft>
              <a:spcPct val="35000"/>
            </a:spcAft>
            <a:buNone/>
          </a:pPr>
          <a:r>
            <a:rPr lang="sl-SI" sz="1200" b="1" kern="1200"/>
            <a:t>Opis</a:t>
          </a:r>
          <a:endParaRPr lang="sl-SI" sz="1200" kern="1200"/>
        </a:p>
      </dsp:txBody>
      <dsp:txXfrm>
        <a:off x="17135" y="816498"/>
        <a:ext cx="2334597" cy="316737"/>
      </dsp:txXfrm>
    </dsp:sp>
    <dsp:sp modelId="{55008F07-2E45-492A-95AF-F8A244DA26B8}">
      <dsp:nvSpPr>
        <dsp:cNvPr id="0" name=""/>
        <dsp:cNvSpPr/>
      </dsp:nvSpPr>
      <dsp:spPr>
        <a:xfrm rot="5400000">
          <a:off x="4072296" y="-453969"/>
          <a:ext cx="812683" cy="4203099"/>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57150" lvl="1" indent="-57150" algn="l" defTabSz="400050">
            <a:lnSpc>
              <a:spcPct val="90000"/>
            </a:lnSpc>
            <a:spcBef>
              <a:spcPct val="0"/>
            </a:spcBef>
            <a:spcAft>
              <a:spcPct val="15000"/>
            </a:spcAft>
            <a:buChar char="•"/>
          </a:pPr>
          <a:r>
            <a:rPr lang="sl-SI" sz="900" kern="1200" dirty="0"/>
            <a:t>Vrsta upravičenih vgrajenih oken </a:t>
          </a:r>
        </a:p>
        <a:p>
          <a:pPr marL="114300" lvl="2" indent="-57150" algn="l" defTabSz="400050">
            <a:lnSpc>
              <a:spcPct val="90000"/>
            </a:lnSpc>
            <a:spcBef>
              <a:spcPct val="0"/>
            </a:spcBef>
            <a:spcAft>
              <a:spcPct val="15000"/>
            </a:spcAft>
            <a:buFont typeface="Arial" panose="020B0604020202020204" pitchFamily="34" charset="0"/>
            <a:buChar char="-"/>
          </a:pPr>
          <a:r>
            <a:rPr lang="sl-SI" sz="900" kern="1200"/>
            <a:t>Dvojno zastekljena okna </a:t>
          </a:r>
        </a:p>
        <a:p>
          <a:pPr marL="114300" lvl="2" indent="-57150" algn="l" defTabSz="400050">
            <a:lnSpc>
              <a:spcPct val="90000"/>
            </a:lnSpc>
            <a:spcBef>
              <a:spcPct val="0"/>
            </a:spcBef>
            <a:spcAft>
              <a:spcPct val="15000"/>
            </a:spcAft>
            <a:buFont typeface="Arial" panose="020B0604020202020204" pitchFamily="34" charset="0"/>
            <a:buChar char="-"/>
          </a:pPr>
          <a:r>
            <a:rPr lang="sl-SI" sz="900" kern="1200"/>
            <a:t>Trojno zastekljena okna </a:t>
          </a:r>
        </a:p>
        <a:p>
          <a:pPr marL="114300" lvl="2" indent="-57150" algn="l" defTabSz="400050">
            <a:lnSpc>
              <a:spcPct val="90000"/>
            </a:lnSpc>
            <a:spcBef>
              <a:spcPct val="0"/>
            </a:spcBef>
            <a:spcAft>
              <a:spcPct val="15000"/>
            </a:spcAft>
            <a:buFont typeface="Arial" panose="020B0604020202020204" pitchFamily="34" charset="0"/>
            <a:buChar char="-"/>
          </a:pPr>
          <a:r>
            <a:rPr lang="sl-SI" sz="900" kern="1200"/>
            <a:t>Dvojno zastekljena okna z zaščitnim premazom</a:t>
          </a:r>
        </a:p>
        <a:p>
          <a:pPr marL="114300" lvl="2" indent="-57150" algn="l" defTabSz="400050">
            <a:lnSpc>
              <a:spcPct val="90000"/>
            </a:lnSpc>
            <a:spcBef>
              <a:spcPct val="0"/>
            </a:spcBef>
            <a:spcAft>
              <a:spcPct val="15000"/>
            </a:spcAft>
            <a:buFont typeface="Arial" panose="020B0604020202020204" pitchFamily="34" charset="0"/>
            <a:buChar char="-"/>
          </a:pPr>
          <a:r>
            <a:rPr lang="sl-SI" sz="900" kern="1200"/>
            <a:t>Trojno zastekljena okna z zaščitnim premazom</a:t>
          </a:r>
          <a:endParaRPr lang="sl-SI" sz="800" kern="1200"/>
        </a:p>
      </dsp:txBody>
      <dsp:txXfrm rot="-5400000">
        <a:off x="2377088" y="1280911"/>
        <a:ext cx="4163427" cy="733339"/>
      </dsp:txXfrm>
    </dsp:sp>
    <dsp:sp modelId="{0C416C2C-D66F-459F-91ED-34CB141140AD}">
      <dsp:nvSpPr>
        <dsp:cNvPr id="0" name=""/>
        <dsp:cNvSpPr/>
      </dsp:nvSpPr>
      <dsp:spPr>
        <a:xfrm>
          <a:off x="0" y="1187510"/>
          <a:ext cx="2364243" cy="92013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22860" rIns="45720" bIns="22860" numCol="1" spcCol="1270" anchor="ctr" anchorCtr="0">
          <a:noAutofit/>
        </a:bodyPr>
        <a:lstStyle/>
        <a:p>
          <a:pPr marL="0" lvl="0" indent="0" algn="ctr" defTabSz="533400">
            <a:lnSpc>
              <a:spcPct val="90000"/>
            </a:lnSpc>
            <a:spcBef>
              <a:spcPct val="0"/>
            </a:spcBef>
            <a:spcAft>
              <a:spcPct val="35000"/>
            </a:spcAft>
            <a:buNone/>
          </a:pPr>
          <a:r>
            <a:rPr lang="sl-SI" sz="1200" b="1" kern="1200"/>
            <a:t>Podatki v dokumentaciji: </a:t>
          </a:r>
          <a:endParaRPr lang="sl-SI" sz="1200" kern="1200"/>
        </a:p>
      </dsp:txBody>
      <dsp:txXfrm>
        <a:off x="44917" y="1232427"/>
        <a:ext cx="2274409" cy="830305"/>
      </dsp:txXfrm>
    </dsp:sp>
    <dsp:sp modelId="{A23F40CB-F2EB-4D44-9E68-1853F43DF94A}">
      <dsp:nvSpPr>
        <dsp:cNvPr id="0" name=""/>
        <dsp:cNvSpPr/>
      </dsp:nvSpPr>
      <dsp:spPr>
        <a:xfrm rot="5400000">
          <a:off x="4388297" y="248462"/>
          <a:ext cx="172461" cy="4211320"/>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88950">
            <a:lnSpc>
              <a:spcPct val="90000"/>
            </a:lnSpc>
            <a:spcBef>
              <a:spcPct val="0"/>
            </a:spcBef>
            <a:spcAft>
              <a:spcPct val="15000"/>
            </a:spcAft>
            <a:buChar char="•"/>
          </a:pPr>
          <a:r>
            <a:rPr lang="sl-SI" sz="1100" kern="1200"/>
            <a:t>m2</a:t>
          </a:r>
          <a:endParaRPr lang="sl-SI" sz="2000" kern="1200"/>
        </a:p>
      </dsp:txBody>
      <dsp:txXfrm rot="-5400000">
        <a:off x="2368868" y="2276311"/>
        <a:ext cx="4202901" cy="155623"/>
      </dsp:txXfrm>
    </dsp:sp>
    <dsp:sp modelId="{46FC0634-DDEE-49DC-B7E0-DBF47EF2CA18}">
      <dsp:nvSpPr>
        <dsp:cNvPr id="0" name=""/>
        <dsp:cNvSpPr/>
      </dsp:nvSpPr>
      <dsp:spPr>
        <a:xfrm>
          <a:off x="0" y="2144788"/>
          <a:ext cx="2368867" cy="418667"/>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22860" rIns="45720" bIns="22860" numCol="1" spcCol="1270" anchor="ctr" anchorCtr="0">
          <a:noAutofit/>
        </a:bodyPr>
        <a:lstStyle/>
        <a:p>
          <a:pPr marL="0" lvl="0" indent="0" algn="ctr" defTabSz="533400">
            <a:lnSpc>
              <a:spcPct val="90000"/>
            </a:lnSpc>
            <a:spcBef>
              <a:spcPct val="0"/>
            </a:spcBef>
            <a:spcAft>
              <a:spcPct val="35000"/>
            </a:spcAft>
            <a:buNone/>
          </a:pPr>
          <a:r>
            <a:rPr lang="sl-SI" sz="1200" b="1" kern="1200"/>
            <a:t>Kvadratura zamenjanih vgrajenih oken</a:t>
          </a:r>
          <a:r>
            <a:rPr lang="sl-SI" sz="1200" kern="1200"/>
            <a:t> </a:t>
          </a:r>
        </a:p>
      </dsp:txBody>
      <dsp:txXfrm>
        <a:off x="20438" y="2165226"/>
        <a:ext cx="2327991" cy="377791"/>
      </dsp:txXfrm>
    </dsp:sp>
    <dsp:sp modelId="{5A65C2A1-6FCD-4B06-A38D-5C48A026996E}">
      <dsp:nvSpPr>
        <dsp:cNvPr id="0" name=""/>
        <dsp:cNvSpPr/>
      </dsp:nvSpPr>
      <dsp:spPr>
        <a:xfrm rot="5400000">
          <a:off x="4076145" y="923851"/>
          <a:ext cx="779293" cy="4203099"/>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00050">
            <a:lnSpc>
              <a:spcPct val="90000"/>
            </a:lnSpc>
            <a:spcBef>
              <a:spcPct val="0"/>
            </a:spcBef>
            <a:spcAft>
              <a:spcPct val="15000"/>
            </a:spcAft>
            <a:buChar char="•"/>
          </a:pPr>
          <a:r>
            <a:rPr lang="sl-SI" sz="900" kern="1200"/>
            <a:t>biomasa, </a:t>
          </a:r>
        </a:p>
        <a:p>
          <a:pPr marL="57150" lvl="1" indent="-57150" algn="l" defTabSz="400050">
            <a:lnSpc>
              <a:spcPct val="90000"/>
            </a:lnSpc>
            <a:spcBef>
              <a:spcPct val="0"/>
            </a:spcBef>
            <a:spcAft>
              <a:spcPct val="15000"/>
            </a:spcAft>
            <a:buChar char="•"/>
          </a:pPr>
          <a:r>
            <a:rPr lang="sl-SI" sz="900" kern="1200"/>
            <a:t>premog, </a:t>
          </a:r>
        </a:p>
        <a:p>
          <a:pPr marL="57150" lvl="1" indent="-57150" algn="l" defTabSz="400050">
            <a:lnSpc>
              <a:spcPct val="90000"/>
            </a:lnSpc>
            <a:spcBef>
              <a:spcPct val="0"/>
            </a:spcBef>
            <a:spcAft>
              <a:spcPct val="15000"/>
            </a:spcAft>
            <a:buChar char="•"/>
          </a:pPr>
          <a:r>
            <a:rPr lang="sl-SI" sz="900" kern="1200"/>
            <a:t>nafta, </a:t>
          </a:r>
        </a:p>
        <a:p>
          <a:pPr marL="57150" lvl="1" indent="-57150" algn="l" defTabSz="400050">
            <a:lnSpc>
              <a:spcPct val="90000"/>
            </a:lnSpc>
            <a:spcBef>
              <a:spcPct val="0"/>
            </a:spcBef>
            <a:spcAft>
              <a:spcPct val="15000"/>
            </a:spcAft>
            <a:buChar char="•"/>
          </a:pPr>
          <a:r>
            <a:rPr lang="sl-SI" sz="900" kern="1200"/>
            <a:t>kurilno olje, </a:t>
          </a:r>
        </a:p>
        <a:p>
          <a:pPr marL="57150" lvl="1" indent="-57150" algn="l" defTabSz="400050">
            <a:lnSpc>
              <a:spcPct val="90000"/>
            </a:lnSpc>
            <a:spcBef>
              <a:spcPct val="0"/>
            </a:spcBef>
            <a:spcAft>
              <a:spcPct val="15000"/>
            </a:spcAft>
            <a:buChar char="•"/>
          </a:pPr>
          <a:r>
            <a:rPr lang="sl-SI" sz="900" kern="1200"/>
            <a:t>elektrika, LPG, Plin, ostalo</a:t>
          </a:r>
          <a:endParaRPr lang="sl-SI" sz="600" kern="1200"/>
        </a:p>
      </dsp:txBody>
      <dsp:txXfrm rot="-5400000">
        <a:off x="2364242" y="2673796"/>
        <a:ext cx="4165057" cy="703209"/>
      </dsp:txXfrm>
    </dsp:sp>
    <dsp:sp modelId="{7C04C658-BAB2-48F3-B289-B9ECAB716CAA}">
      <dsp:nvSpPr>
        <dsp:cNvPr id="0" name=""/>
        <dsp:cNvSpPr/>
      </dsp:nvSpPr>
      <dsp:spPr>
        <a:xfrm>
          <a:off x="0" y="2600595"/>
          <a:ext cx="2364243" cy="849612"/>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22860" rIns="45720" bIns="22860" numCol="1" spcCol="1270" anchor="ctr" anchorCtr="0">
          <a:noAutofit/>
        </a:bodyPr>
        <a:lstStyle/>
        <a:p>
          <a:pPr marL="0" lvl="0" indent="0" algn="ctr" defTabSz="533400">
            <a:lnSpc>
              <a:spcPct val="90000"/>
            </a:lnSpc>
            <a:spcBef>
              <a:spcPct val="0"/>
            </a:spcBef>
            <a:spcAft>
              <a:spcPct val="35000"/>
            </a:spcAft>
            <a:buNone/>
          </a:pPr>
          <a:r>
            <a:rPr lang="sl-SI" sz="1200" b="1" kern="1200"/>
            <a:t>Kateri vir energije se uporablja za ogrevanje</a:t>
          </a:r>
          <a:r>
            <a:rPr lang="sl-SI" sz="1200" kern="1200"/>
            <a:t>:</a:t>
          </a:r>
        </a:p>
      </dsp:txBody>
      <dsp:txXfrm>
        <a:off x="41475" y="2642070"/>
        <a:ext cx="2281293" cy="766662"/>
      </dsp:txXfrm>
    </dsp:sp>
    <dsp:sp modelId="{22DBC66B-C1E0-43DF-8C92-BA9CE4851B6E}">
      <dsp:nvSpPr>
        <dsp:cNvPr id="0" name=""/>
        <dsp:cNvSpPr/>
      </dsp:nvSpPr>
      <dsp:spPr>
        <a:xfrm rot="5400000">
          <a:off x="4201318" y="1714113"/>
          <a:ext cx="546417" cy="4211320"/>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355600">
            <a:lnSpc>
              <a:spcPct val="90000"/>
            </a:lnSpc>
            <a:spcBef>
              <a:spcPct val="0"/>
            </a:spcBef>
            <a:spcAft>
              <a:spcPct val="15000"/>
            </a:spcAft>
            <a:buChar char="•"/>
          </a:pPr>
          <a:r>
            <a:rPr lang="sl-SI" sz="800" kern="1200"/>
            <a:t>Prihranek v kg CO2e/leto </a:t>
          </a:r>
        </a:p>
        <a:p>
          <a:pPr marL="57150" lvl="1" indent="-57150" algn="l" defTabSz="355600">
            <a:lnSpc>
              <a:spcPct val="90000"/>
            </a:lnSpc>
            <a:spcBef>
              <a:spcPct val="0"/>
            </a:spcBef>
            <a:spcAft>
              <a:spcPct val="15000"/>
            </a:spcAft>
            <a:buChar char="•"/>
          </a:pPr>
          <a:r>
            <a:rPr lang="sl-SI" sz="800" kern="1200"/>
            <a:t>Prihranek primarne energije vvkWh/leto </a:t>
          </a:r>
        </a:p>
        <a:p>
          <a:pPr marL="57150" lvl="1" indent="-57150" algn="l" defTabSz="355600">
            <a:lnSpc>
              <a:spcPct val="90000"/>
            </a:lnSpc>
            <a:spcBef>
              <a:spcPct val="0"/>
            </a:spcBef>
            <a:spcAft>
              <a:spcPct val="15000"/>
            </a:spcAft>
            <a:buChar char="•"/>
          </a:pPr>
          <a:r>
            <a:rPr lang="sl-SI" sz="800" kern="1200"/>
            <a:t>Prihranek končne energije v kWh/leto</a:t>
          </a:r>
        </a:p>
        <a:p>
          <a:pPr marL="57150" lvl="1" indent="-57150" algn="l" defTabSz="355600">
            <a:lnSpc>
              <a:spcPct val="90000"/>
            </a:lnSpc>
            <a:spcBef>
              <a:spcPct val="0"/>
            </a:spcBef>
            <a:spcAft>
              <a:spcPct val="15000"/>
            </a:spcAft>
            <a:buChar char="•"/>
          </a:pPr>
          <a:r>
            <a:rPr lang="sl-SI" sz="800" kern="1200"/>
            <a:t>Ocena prihranka stroškov v EUR</a:t>
          </a:r>
        </a:p>
      </dsp:txBody>
      <dsp:txXfrm rot="-5400000">
        <a:off x="2368867" y="3573238"/>
        <a:ext cx="4184646" cy="493069"/>
      </dsp:txXfrm>
    </dsp:sp>
    <dsp:sp modelId="{7103CB86-C6FE-4680-937A-D58DDA0FF35E}">
      <dsp:nvSpPr>
        <dsp:cNvPr id="0" name=""/>
        <dsp:cNvSpPr/>
      </dsp:nvSpPr>
      <dsp:spPr>
        <a:xfrm>
          <a:off x="0" y="3487346"/>
          <a:ext cx="2368867" cy="66485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22860" rIns="45720" bIns="22860" numCol="1" spcCol="1270" anchor="ctr" anchorCtr="0">
          <a:noAutofit/>
        </a:bodyPr>
        <a:lstStyle/>
        <a:p>
          <a:pPr marL="0" lvl="0" indent="0" algn="ctr" defTabSz="533400">
            <a:lnSpc>
              <a:spcPct val="90000"/>
            </a:lnSpc>
            <a:spcBef>
              <a:spcPct val="0"/>
            </a:spcBef>
            <a:spcAft>
              <a:spcPct val="35000"/>
            </a:spcAft>
            <a:buNone/>
          </a:pPr>
          <a:r>
            <a:rPr lang="en-US" sz="1200" b="1" kern="1200"/>
            <a:t>Ocenjeni vplivi (izračunani na podlagi greenchecker.eib.org):</a:t>
          </a:r>
          <a:endParaRPr lang="sl-SI" sz="1200" kern="1200"/>
        </a:p>
      </dsp:txBody>
      <dsp:txXfrm>
        <a:off x="32455" y="3519801"/>
        <a:ext cx="2303957" cy="599943"/>
      </dsp:txXfrm>
    </dsp:sp>
    <dsp:sp modelId="{2EECC300-BF5A-48AB-84B9-AA7FFBA14884}">
      <dsp:nvSpPr>
        <dsp:cNvPr id="0" name=""/>
        <dsp:cNvSpPr/>
      </dsp:nvSpPr>
      <dsp:spPr>
        <a:xfrm rot="5400000">
          <a:off x="4344431" y="2252204"/>
          <a:ext cx="260192" cy="4211320"/>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endParaRPr lang="sl-SI" sz="1300" kern="1200"/>
        </a:p>
      </dsp:txBody>
      <dsp:txXfrm rot="-5400000">
        <a:off x="2368867" y="4240470"/>
        <a:ext cx="4198618" cy="234788"/>
      </dsp:txXfrm>
    </dsp:sp>
    <dsp:sp modelId="{1777ED9B-E174-40F0-B13B-C3EEC12AA822}">
      <dsp:nvSpPr>
        <dsp:cNvPr id="0" name=""/>
        <dsp:cNvSpPr/>
      </dsp:nvSpPr>
      <dsp:spPr>
        <a:xfrm>
          <a:off x="0" y="4189339"/>
          <a:ext cx="2368867" cy="33705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22860" rIns="45720" bIns="22860" numCol="1" spcCol="1270" anchor="ctr" anchorCtr="0">
          <a:noAutofit/>
        </a:bodyPr>
        <a:lstStyle/>
        <a:p>
          <a:pPr marL="0" lvl="0" indent="0" algn="ctr" defTabSz="533400">
            <a:lnSpc>
              <a:spcPct val="90000"/>
            </a:lnSpc>
            <a:spcBef>
              <a:spcPct val="0"/>
            </a:spcBef>
            <a:spcAft>
              <a:spcPct val="35000"/>
            </a:spcAft>
            <a:buNone/>
          </a:pPr>
          <a:r>
            <a:rPr lang="sl-SI" sz="1200" b="1" kern="1200" dirty="0"/>
            <a:t>Višina investicije</a:t>
          </a:r>
        </a:p>
      </dsp:txBody>
      <dsp:txXfrm>
        <a:off x="16453" y="4205792"/>
        <a:ext cx="2335961" cy="30414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CEB5E8-BD49-47C9-8111-C2E5940C21F7}">
      <dsp:nvSpPr>
        <dsp:cNvPr id="0" name=""/>
        <dsp:cNvSpPr/>
      </dsp:nvSpPr>
      <dsp:spPr>
        <a:xfrm rot="5400000">
          <a:off x="4653365" y="-2111405"/>
          <a:ext cx="296221" cy="4519036"/>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9525" rIns="19050" bIns="9525" numCol="1" spcCol="1270" anchor="ctr" anchorCtr="0">
          <a:noAutofit/>
        </a:bodyPr>
        <a:lstStyle/>
        <a:p>
          <a:pPr marL="57150" lvl="1" indent="-57150" algn="l" defTabSz="466725">
            <a:lnSpc>
              <a:spcPct val="90000"/>
            </a:lnSpc>
            <a:spcBef>
              <a:spcPct val="0"/>
            </a:spcBef>
            <a:spcAft>
              <a:spcPct val="15000"/>
            </a:spcAft>
            <a:buChar char="•"/>
          </a:pPr>
          <a:r>
            <a:rPr lang="sl-SI" sz="1050" b="0" kern="1200" noProof="0" dirty="0"/>
            <a:t>Namestitev, vzdrževanje in popravilo opreme za energetsko učinkovitost </a:t>
          </a:r>
          <a:endParaRPr lang="sl-SI" sz="1050" b="0" kern="1200" dirty="0"/>
        </a:p>
      </dsp:txBody>
      <dsp:txXfrm rot="-5400000">
        <a:off x="2541958" y="14462"/>
        <a:ext cx="4504576" cy="267301"/>
      </dsp:txXfrm>
    </dsp:sp>
    <dsp:sp modelId="{4F3103D8-F6EA-4113-9D22-F995D226426F}">
      <dsp:nvSpPr>
        <dsp:cNvPr id="0" name=""/>
        <dsp:cNvSpPr/>
      </dsp:nvSpPr>
      <dsp:spPr>
        <a:xfrm>
          <a:off x="0" y="1065"/>
          <a:ext cx="2541957" cy="29409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0955" rIns="41910" bIns="20955" numCol="1" spcCol="1270" anchor="ctr" anchorCtr="0">
          <a:noAutofit/>
        </a:bodyPr>
        <a:lstStyle/>
        <a:p>
          <a:pPr marL="0" lvl="0" indent="0" algn="ctr" defTabSz="488950">
            <a:lnSpc>
              <a:spcPct val="90000"/>
            </a:lnSpc>
            <a:spcBef>
              <a:spcPct val="0"/>
            </a:spcBef>
            <a:spcAft>
              <a:spcPct val="35000"/>
            </a:spcAft>
            <a:buNone/>
          </a:pPr>
          <a:r>
            <a:rPr lang="sl-SI" sz="1100" kern="1200"/>
            <a:t>Zeleni namen</a:t>
          </a:r>
        </a:p>
      </dsp:txBody>
      <dsp:txXfrm>
        <a:off x="14356" y="15421"/>
        <a:ext cx="2513245" cy="265382"/>
      </dsp:txXfrm>
    </dsp:sp>
    <dsp:sp modelId="{C3AC3067-7AE3-436C-8183-035777957537}">
      <dsp:nvSpPr>
        <dsp:cNvPr id="0" name=""/>
        <dsp:cNvSpPr/>
      </dsp:nvSpPr>
      <dsp:spPr>
        <a:xfrm rot="5400000">
          <a:off x="4680680" y="-1758774"/>
          <a:ext cx="241589" cy="4519036"/>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9525" rIns="19050" bIns="9525" numCol="1" spcCol="1270" anchor="ctr" anchorCtr="0">
          <a:noAutofit/>
        </a:bodyPr>
        <a:lstStyle/>
        <a:p>
          <a:pPr marL="57150" lvl="1" indent="-57150" algn="l" defTabSz="444500">
            <a:lnSpc>
              <a:spcPct val="90000"/>
            </a:lnSpc>
            <a:spcBef>
              <a:spcPct val="0"/>
            </a:spcBef>
            <a:spcAft>
              <a:spcPct val="15000"/>
            </a:spcAft>
            <a:buChar char="•"/>
          </a:pPr>
          <a:r>
            <a:rPr lang="sl-SI" sz="1000" kern="1200" dirty="0"/>
            <a:t>Zamenjava klimatskih naprav</a:t>
          </a:r>
        </a:p>
      </dsp:txBody>
      <dsp:txXfrm rot="-5400000">
        <a:off x="2541957" y="391742"/>
        <a:ext cx="4507243" cy="218003"/>
      </dsp:txXfrm>
    </dsp:sp>
    <dsp:sp modelId="{50DA88A6-A998-4266-815A-5A3D434D37B6}">
      <dsp:nvSpPr>
        <dsp:cNvPr id="0" name=""/>
        <dsp:cNvSpPr/>
      </dsp:nvSpPr>
      <dsp:spPr>
        <a:xfrm>
          <a:off x="0" y="330155"/>
          <a:ext cx="2541957" cy="341177"/>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0955" rIns="41910" bIns="20955" numCol="1" spcCol="1270" anchor="ctr" anchorCtr="0">
          <a:noAutofit/>
        </a:bodyPr>
        <a:lstStyle/>
        <a:p>
          <a:pPr marL="0" lvl="0" indent="0" algn="ctr" defTabSz="488950">
            <a:lnSpc>
              <a:spcPct val="90000"/>
            </a:lnSpc>
            <a:spcBef>
              <a:spcPct val="0"/>
            </a:spcBef>
            <a:spcAft>
              <a:spcPct val="35000"/>
            </a:spcAft>
            <a:buNone/>
          </a:pPr>
          <a:r>
            <a:rPr lang="sl-SI" sz="1100" b="1" kern="1200"/>
            <a:t>Zelena vrsta investicije</a:t>
          </a:r>
          <a:endParaRPr lang="sl-SI" sz="1100" kern="1200"/>
        </a:p>
      </dsp:txBody>
      <dsp:txXfrm>
        <a:off x="16655" y="346810"/>
        <a:ext cx="2508647" cy="307867"/>
      </dsp:txXfrm>
    </dsp:sp>
    <dsp:sp modelId="{3446EB98-0C2B-4924-A54B-EEBF14A66AFC}">
      <dsp:nvSpPr>
        <dsp:cNvPr id="0" name=""/>
        <dsp:cNvSpPr/>
      </dsp:nvSpPr>
      <dsp:spPr>
        <a:xfrm rot="5400000">
          <a:off x="4567730" y="-1308870"/>
          <a:ext cx="467490" cy="4519036"/>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9525" rIns="19050" bIns="9525" numCol="1" spcCol="1270" anchor="ctr" anchorCtr="0">
          <a:noAutofit/>
        </a:bodyPr>
        <a:lstStyle/>
        <a:p>
          <a:pPr marL="57150" lvl="1" indent="-57150" algn="l" defTabSz="444500">
            <a:lnSpc>
              <a:spcPct val="90000"/>
            </a:lnSpc>
            <a:spcBef>
              <a:spcPct val="0"/>
            </a:spcBef>
            <a:spcAft>
              <a:spcPct val="15000"/>
            </a:spcAft>
            <a:buChar char="•"/>
          </a:pPr>
          <a:r>
            <a:rPr lang="sl-SI" sz="1000" kern="1200"/>
            <a:t>Zamenjava klimatskih naprav in pomožne tehnične opreme je upravičena do zelenega financiranja EIB, če ukrep prihrani primarno energijo </a:t>
          </a:r>
        </a:p>
      </dsp:txBody>
      <dsp:txXfrm rot="-5400000">
        <a:off x="2541958" y="739723"/>
        <a:ext cx="4496215" cy="421848"/>
      </dsp:txXfrm>
    </dsp:sp>
    <dsp:sp modelId="{7EBC1530-0B83-44D6-94B9-6E894E41449B}">
      <dsp:nvSpPr>
        <dsp:cNvPr id="0" name=""/>
        <dsp:cNvSpPr/>
      </dsp:nvSpPr>
      <dsp:spPr>
        <a:xfrm>
          <a:off x="0" y="705264"/>
          <a:ext cx="2541957" cy="49076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0955" rIns="41910" bIns="20955" numCol="1" spcCol="1270" anchor="ctr" anchorCtr="0">
          <a:noAutofit/>
        </a:bodyPr>
        <a:lstStyle/>
        <a:p>
          <a:pPr marL="0" lvl="0" indent="0" algn="ctr" defTabSz="488950">
            <a:lnSpc>
              <a:spcPct val="90000"/>
            </a:lnSpc>
            <a:spcBef>
              <a:spcPct val="0"/>
            </a:spcBef>
            <a:spcAft>
              <a:spcPct val="35000"/>
            </a:spcAft>
            <a:buNone/>
          </a:pPr>
          <a:r>
            <a:rPr lang="sl-SI" sz="1100" b="1" kern="1200"/>
            <a:t>Opis</a:t>
          </a:r>
          <a:endParaRPr lang="sl-SI" sz="1100" kern="1200"/>
        </a:p>
      </dsp:txBody>
      <dsp:txXfrm>
        <a:off x="23957" y="729221"/>
        <a:ext cx="2494043" cy="442852"/>
      </dsp:txXfrm>
    </dsp:sp>
    <dsp:sp modelId="{55008F07-2E45-492A-95AF-F8A244DA26B8}">
      <dsp:nvSpPr>
        <dsp:cNvPr id="0" name=""/>
        <dsp:cNvSpPr/>
      </dsp:nvSpPr>
      <dsp:spPr>
        <a:xfrm rot="5400000">
          <a:off x="4572763" y="-753088"/>
          <a:ext cx="457424" cy="4519036"/>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9525" rIns="19050" bIns="9525" numCol="1" spcCol="1270" anchor="ctr" anchorCtr="0">
          <a:noAutofit/>
        </a:bodyPr>
        <a:lstStyle/>
        <a:p>
          <a:pPr marL="57150" lvl="1" indent="-57150" algn="l" defTabSz="400050">
            <a:lnSpc>
              <a:spcPct val="90000"/>
            </a:lnSpc>
            <a:spcBef>
              <a:spcPct val="0"/>
            </a:spcBef>
            <a:spcAft>
              <a:spcPct val="15000"/>
            </a:spcAft>
            <a:buChar char="•"/>
          </a:pPr>
          <a:r>
            <a:rPr lang="sl-SI" sz="900" kern="1200"/>
            <a:t>Vrsta upravičenih energetskih razredov</a:t>
          </a:r>
        </a:p>
        <a:p>
          <a:pPr marL="114300" lvl="2" indent="-57150" algn="l" defTabSz="400050">
            <a:lnSpc>
              <a:spcPct val="90000"/>
            </a:lnSpc>
            <a:spcBef>
              <a:spcPct val="0"/>
            </a:spcBef>
            <a:spcAft>
              <a:spcPct val="15000"/>
            </a:spcAft>
            <a:buFont typeface="Arial" panose="020B0604020202020204" pitchFamily="34" charset="0"/>
            <a:buChar char="-"/>
          </a:pPr>
          <a:r>
            <a:rPr lang="sl-SI" sz="900" kern="1200"/>
            <a:t>A+++</a:t>
          </a:r>
        </a:p>
        <a:p>
          <a:pPr marL="114300" lvl="2" indent="-57150" algn="l" defTabSz="400050">
            <a:lnSpc>
              <a:spcPct val="90000"/>
            </a:lnSpc>
            <a:spcBef>
              <a:spcPct val="0"/>
            </a:spcBef>
            <a:spcAft>
              <a:spcPct val="15000"/>
            </a:spcAft>
            <a:buFont typeface="Arial" panose="020B0604020202020204" pitchFamily="34" charset="0"/>
            <a:buChar char="-"/>
          </a:pPr>
          <a:r>
            <a:rPr lang="sl-SI" sz="900" kern="1200" dirty="0"/>
            <a:t>A++</a:t>
          </a:r>
        </a:p>
      </dsp:txBody>
      <dsp:txXfrm rot="-5400000">
        <a:off x="2541957" y="1300048"/>
        <a:ext cx="4496706" cy="412764"/>
      </dsp:txXfrm>
    </dsp:sp>
    <dsp:sp modelId="{0C416C2C-D66F-459F-91ED-34CB141140AD}">
      <dsp:nvSpPr>
        <dsp:cNvPr id="0" name=""/>
        <dsp:cNvSpPr/>
      </dsp:nvSpPr>
      <dsp:spPr>
        <a:xfrm>
          <a:off x="0" y="1229962"/>
          <a:ext cx="2541957" cy="55293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0955" rIns="41910" bIns="20955" numCol="1" spcCol="1270" anchor="ctr" anchorCtr="0">
          <a:noAutofit/>
        </a:bodyPr>
        <a:lstStyle/>
        <a:p>
          <a:pPr marL="0" lvl="0" indent="0" algn="ctr" defTabSz="488950">
            <a:lnSpc>
              <a:spcPct val="90000"/>
            </a:lnSpc>
            <a:spcBef>
              <a:spcPct val="0"/>
            </a:spcBef>
            <a:spcAft>
              <a:spcPct val="35000"/>
            </a:spcAft>
            <a:buNone/>
          </a:pPr>
          <a:r>
            <a:rPr lang="sl-SI" sz="1100" b="1" kern="1200"/>
            <a:t>Podatki v dokumentaciji: </a:t>
          </a:r>
          <a:endParaRPr lang="sl-SI" sz="1100" kern="1200"/>
        </a:p>
      </dsp:txBody>
      <dsp:txXfrm>
        <a:off x="26992" y="1256954"/>
        <a:ext cx="2487973" cy="498951"/>
      </dsp:txXfrm>
    </dsp:sp>
    <dsp:sp modelId="{8C853430-9F7E-48F2-903C-A81F0EC3694D}">
      <dsp:nvSpPr>
        <dsp:cNvPr id="0" name=""/>
        <dsp:cNvSpPr/>
      </dsp:nvSpPr>
      <dsp:spPr>
        <a:xfrm rot="5400000">
          <a:off x="4551161" y="-141540"/>
          <a:ext cx="500628" cy="4519036"/>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9525" rIns="19050" bIns="9525" numCol="1" spcCol="1270" anchor="ctr" anchorCtr="0">
          <a:noAutofit/>
        </a:bodyPr>
        <a:lstStyle/>
        <a:p>
          <a:pPr marL="57150" lvl="1" indent="-57150" algn="l" defTabSz="222250">
            <a:lnSpc>
              <a:spcPct val="90000"/>
            </a:lnSpc>
            <a:spcBef>
              <a:spcPct val="0"/>
            </a:spcBef>
            <a:spcAft>
              <a:spcPct val="15000"/>
            </a:spcAft>
            <a:buChar char="•"/>
          </a:pPr>
          <a:r>
            <a:rPr lang="sl-SI" sz="500" kern="1200"/>
            <a:t>Zamenjani energetski razredi</a:t>
          </a:r>
        </a:p>
        <a:p>
          <a:pPr marL="114300" lvl="2" indent="-57150" algn="l" defTabSz="222250">
            <a:lnSpc>
              <a:spcPct val="90000"/>
            </a:lnSpc>
            <a:spcBef>
              <a:spcPct val="0"/>
            </a:spcBef>
            <a:spcAft>
              <a:spcPct val="15000"/>
            </a:spcAft>
            <a:buChar char="•"/>
          </a:pPr>
          <a:r>
            <a:rPr lang="sl-SI" sz="500" kern="1200"/>
            <a:t>A</a:t>
          </a:r>
        </a:p>
        <a:p>
          <a:pPr marL="114300" lvl="2" indent="-57150" algn="l" defTabSz="222250">
            <a:lnSpc>
              <a:spcPct val="90000"/>
            </a:lnSpc>
            <a:spcBef>
              <a:spcPct val="0"/>
            </a:spcBef>
            <a:spcAft>
              <a:spcPct val="15000"/>
            </a:spcAft>
            <a:buChar char="•"/>
          </a:pPr>
          <a:r>
            <a:rPr lang="sl-SI" sz="500" kern="1200"/>
            <a:t>B</a:t>
          </a:r>
        </a:p>
        <a:p>
          <a:pPr marL="114300" lvl="2" indent="-57150" algn="l" defTabSz="222250">
            <a:lnSpc>
              <a:spcPct val="90000"/>
            </a:lnSpc>
            <a:spcBef>
              <a:spcPct val="0"/>
            </a:spcBef>
            <a:spcAft>
              <a:spcPct val="15000"/>
            </a:spcAft>
            <a:buChar char="•"/>
          </a:pPr>
          <a:r>
            <a:rPr lang="sl-SI" sz="500" kern="1200"/>
            <a:t>C</a:t>
          </a:r>
        </a:p>
        <a:p>
          <a:pPr marL="114300" lvl="2" indent="-57150" algn="l" defTabSz="222250">
            <a:lnSpc>
              <a:spcPct val="90000"/>
            </a:lnSpc>
            <a:spcBef>
              <a:spcPct val="0"/>
            </a:spcBef>
            <a:spcAft>
              <a:spcPct val="15000"/>
            </a:spcAft>
            <a:buChar char="•"/>
          </a:pPr>
          <a:r>
            <a:rPr lang="sl-SI" sz="500" kern="1200"/>
            <a:t>D, E, F, G, H </a:t>
          </a:r>
        </a:p>
        <a:p>
          <a:pPr marL="114300" lvl="2" indent="-57150" algn="l" defTabSz="222250">
            <a:lnSpc>
              <a:spcPct val="90000"/>
            </a:lnSpc>
            <a:spcBef>
              <a:spcPct val="0"/>
            </a:spcBef>
            <a:spcAft>
              <a:spcPct val="15000"/>
            </a:spcAft>
            <a:buChar char="•"/>
          </a:pPr>
          <a:r>
            <a:rPr lang="sl-SI" sz="500" kern="1200"/>
            <a:t>Ostalo</a:t>
          </a:r>
        </a:p>
      </dsp:txBody>
      <dsp:txXfrm rot="-5400000">
        <a:off x="2541958" y="1892102"/>
        <a:ext cx="4494597" cy="451750"/>
      </dsp:txXfrm>
    </dsp:sp>
    <dsp:sp modelId="{EC0EA46C-41EC-4512-8AF2-477183933C4B}">
      <dsp:nvSpPr>
        <dsp:cNvPr id="0" name=""/>
        <dsp:cNvSpPr/>
      </dsp:nvSpPr>
      <dsp:spPr>
        <a:xfrm>
          <a:off x="0" y="1816828"/>
          <a:ext cx="2541957" cy="602298"/>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0955" rIns="41910" bIns="20955" numCol="1" spcCol="1270" anchor="ctr" anchorCtr="0">
          <a:noAutofit/>
        </a:bodyPr>
        <a:lstStyle/>
        <a:p>
          <a:pPr marL="0" lvl="0" indent="0" algn="ctr" defTabSz="488950">
            <a:lnSpc>
              <a:spcPct val="90000"/>
            </a:lnSpc>
            <a:spcBef>
              <a:spcPct val="0"/>
            </a:spcBef>
            <a:spcAft>
              <a:spcPct val="35000"/>
            </a:spcAft>
            <a:buNone/>
          </a:pPr>
          <a:r>
            <a:rPr lang="sl-SI" sz="1100" b="1" kern="1200" dirty="0"/>
            <a:t>Razredi energetske učinkovitosti zamenjanih enot</a:t>
          </a:r>
        </a:p>
      </dsp:txBody>
      <dsp:txXfrm>
        <a:off x="29402" y="1846230"/>
        <a:ext cx="2483153" cy="543494"/>
      </dsp:txXfrm>
    </dsp:sp>
    <dsp:sp modelId="{A23F40CB-F2EB-4D44-9E68-1853F43DF94A}">
      <dsp:nvSpPr>
        <dsp:cNvPr id="0" name=""/>
        <dsp:cNvSpPr/>
      </dsp:nvSpPr>
      <dsp:spPr>
        <a:xfrm rot="5400000">
          <a:off x="4722693" y="384793"/>
          <a:ext cx="157565" cy="4519036"/>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9525" rIns="19050" bIns="9525" numCol="1" spcCol="1270" anchor="ctr" anchorCtr="0">
          <a:noAutofit/>
        </a:bodyPr>
        <a:lstStyle/>
        <a:p>
          <a:pPr marL="57150" lvl="1" indent="-57150" algn="l" defTabSz="488950">
            <a:lnSpc>
              <a:spcPct val="90000"/>
            </a:lnSpc>
            <a:spcBef>
              <a:spcPct val="0"/>
            </a:spcBef>
            <a:spcAft>
              <a:spcPct val="15000"/>
            </a:spcAft>
            <a:buChar char="•"/>
          </a:pPr>
          <a:r>
            <a:rPr lang="sl-SI" sz="1100" kern="1200"/>
            <a:t>m2</a:t>
          </a:r>
          <a:endParaRPr lang="sl-SI" sz="2000" kern="1200"/>
        </a:p>
      </dsp:txBody>
      <dsp:txXfrm rot="-5400000">
        <a:off x="2541958" y="2573220"/>
        <a:ext cx="4511344" cy="142181"/>
      </dsp:txXfrm>
    </dsp:sp>
    <dsp:sp modelId="{46FC0634-DDEE-49DC-B7E0-DBF47EF2CA18}">
      <dsp:nvSpPr>
        <dsp:cNvPr id="0" name=""/>
        <dsp:cNvSpPr/>
      </dsp:nvSpPr>
      <dsp:spPr>
        <a:xfrm>
          <a:off x="0" y="2453058"/>
          <a:ext cx="2541957" cy="38250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0955" rIns="41910" bIns="20955" numCol="1" spcCol="1270" anchor="ctr" anchorCtr="0">
          <a:noAutofit/>
        </a:bodyPr>
        <a:lstStyle/>
        <a:p>
          <a:pPr marL="0" lvl="0" indent="0" algn="ctr" defTabSz="488950">
            <a:lnSpc>
              <a:spcPct val="90000"/>
            </a:lnSpc>
            <a:spcBef>
              <a:spcPct val="0"/>
            </a:spcBef>
            <a:spcAft>
              <a:spcPct val="35000"/>
            </a:spcAft>
            <a:buNone/>
          </a:pPr>
          <a:r>
            <a:rPr lang="sl-SI" sz="1100" b="1" kern="1200"/>
            <a:t>Kvadratura površine klimatiziranega prostora</a:t>
          </a:r>
          <a:endParaRPr lang="sl-SI" sz="1100" kern="1200"/>
        </a:p>
      </dsp:txBody>
      <dsp:txXfrm>
        <a:off x="18672" y="2471730"/>
        <a:ext cx="2504613" cy="345162"/>
      </dsp:txXfrm>
    </dsp:sp>
    <dsp:sp modelId="{5A65C2A1-6FCD-4B06-A38D-5C48A026996E}">
      <dsp:nvSpPr>
        <dsp:cNvPr id="0" name=""/>
        <dsp:cNvSpPr/>
      </dsp:nvSpPr>
      <dsp:spPr>
        <a:xfrm rot="5400000">
          <a:off x="4542391" y="906430"/>
          <a:ext cx="518169" cy="4519036"/>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9525" rIns="19050" bIns="9525" numCol="1" spcCol="1270" anchor="ctr" anchorCtr="0">
          <a:noAutofit/>
        </a:bodyPr>
        <a:lstStyle/>
        <a:p>
          <a:pPr marL="57150" lvl="1" indent="-57150" algn="l" defTabSz="400050">
            <a:lnSpc>
              <a:spcPct val="90000"/>
            </a:lnSpc>
            <a:spcBef>
              <a:spcPct val="0"/>
            </a:spcBef>
            <a:spcAft>
              <a:spcPct val="15000"/>
            </a:spcAft>
            <a:buChar char="•"/>
          </a:pPr>
          <a:r>
            <a:rPr lang="sl-SI" sz="900" kern="1200" dirty="0"/>
            <a:t>Enonadstropna stavba</a:t>
          </a:r>
        </a:p>
        <a:p>
          <a:pPr marL="57150" lvl="1" indent="-57150" algn="l" defTabSz="400050">
            <a:lnSpc>
              <a:spcPct val="90000"/>
            </a:lnSpc>
            <a:spcBef>
              <a:spcPct val="0"/>
            </a:spcBef>
            <a:spcAft>
              <a:spcPct val="15000"/>
            </a:spcAft>
            <a:buChar char="•"/>
          </a:pPr>
          <a:r>
            <a:rPr lang="sl-SI" sz="900" kern="1200"/>
            <a:t>Več nadstropna stavba</a:t>
          </a:r>
        </a:p>
        <a:p>
          <a:pPr marL="57150" lvl="1" indent="-57150" algn="l" defTabSz="400050">
            <a:lnSpc>
              <a:spcPct val="90000"/>
            </a:lnSpc>
            <a:spcBef>
              <a:spcPct val="0"/>
            </a:spcBef>
            <a:spcAft>
              <a:spcPct val="15000"/>
            </a:spcAft>
            <a:buChar char="•"/>
          </a:pPr>
          <a:r>
            <a:rPr lang="sl-SI" sz="900" kern="1200"/>
            <a:t>Dvoroanska stavba z nekaj okni</a:t>
          </a:r>
        </a:p>
      </dsp:txBody>
      <dsp:txXfrm rot="-5400000">
        <a:off x="2541958" y="2932159"/>
        <a:ext cx="4493741" cy="467579"/>
      </dsp:txXfrm>
    </dsp:sp>
    <dsp:sp modelId="{7C04C658-BAB2-48F3-B289-B9ECAB716CAA}">
      <dsp:nvSpPr>
        <dsp:cNvPr id="0" name=""/>
        <dsp:cNvSpPr/>
      </dsp:nvSpPr>
      <dsp:spPr>
        <a:xfrm>
          <a:off x="0" y="2869495"/>
          <a:ext cx="2541957" cy="59290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0955" rIns="41910" bIns="20955" numCol="1" spcCol="1270" anchor="ctr" anchorCtr="0">
          <a:noAutofit/>
        </a:bodyPr>
        <a:lstStyle/>
        <a:p>
          <a:pPr marL="0" lvl="0" indent="0" algn="ctr" defTabSz="488950">
            <a:lnSpc>
              <a:spcPct val="90000"/>
            </a:lnSpc>
            <a:spcBef>
              <a:spcPct val="0"/>
            </a:spcBef>
            <a:spcAft>
              <a:spcPct val="35000"/>
            </a:spcAft>
            <a:buNone/>
          </a:pPr>
          <a:r>
            <a:rPr lang="sl-SI" sz="1100" b="1" kern="1200" dirty="0"/>
            <a:t>Vrsta stavbe, v kateri bo zamenjana klimatska naprava</a:t>
          </a:r>
          <a:endParaRPr lang="sl-SI" sz="1100" kern="1200" dirty="0"/>
        </a:p>
      </dsp:txBody>
      <dsp:txXfrm>
        <a:off x="28943" y="2898438"/>
        <a:ext cx="2484071" cy="535020"/>
      </dsp:txXfrm>
    </dsp:sp>
    <dsp:sp modelId="{EEB48256-1CDC-478F-9AA9-00E4C9F931A4}">
      <dsp:nvSpPr>
        <dsp:cNvPr id="0" name=""/>
        <dsp:cNvSpPr/>
      </dsp:nvSpPr>
      <dsp:spPr>
        <a:xfrm rot="5400000">
          <a:off x="4691101" y="1431043"/>
          <a:ext cx="220748" cy="4519036"/>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9525" rIns="19050" bIns="9525" numCol="1" spcCol="1270" anchor="ctr" anchorCtr="0">
          <a:noAutofit/>
        </a:bodyPr>
        <a:lstStyle/>
        <a:p>
          <a:pPr marL="57150" lvl="1" indent="-57150" algn="l" defTabSz="222250">
            <a:lnSpc>
              <a:spcPct val="90000"/>
            </a:lnSpc>
            <a:spcBef>
              <a:spcPct val="0"/>
            </a:spcBef>
            <a:spcAft>
              <a:spcPct val="15000"/>
            </a:spcAft>
            <a:buChar char="•"/>
          </a:pPr>
          <a:r>
            <a:rPr lang="sl-SI" sz="500" kern="1200"/>
            <a:t>DA/NE</a:t>
          </a:r>
        </a:p>
      </dsp:txBody>
      <dsp:txXfrm rot="-5400000">
        <a:off x="2541957" y="3590963"/>
        <a:ext cx="4508260" cy="199196"/>
      </dsp:txXfrm>
    </dsp:sp>
    <dsp:sp modelId="{EA162E80-59D6-4406-9EDE-B07494F923E5}">
      <dsp:nvSpPr>
        <dsp:cNvPr id="0" name=""/>
        <dsp:cNvSpPr/>
      </dsp:nvSpPr>
      <dsp:spPr>
        <a:xfrm>
          <a:off x="0" y="3496333"/>
          <a:ext cx="2541957" cy="388457"/>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0955" rIns="41910" bIns="20955" numCol="1" spcCol="1270" anchor="ctr" anchorCtr="0">
          <a:noAutofit/>
        </a:bodyPr>
        <a:lstStyle/>
        <a:p>
          <a:pPr marL="0" lvl="0" indent="0" algn="ctr" defTabSz="488950">
            <a:lnSpc>
              <a:spcPct val="90000"/>
            </a:lnSpc>
            <a:spcBef>
              <a:spcPct val="0"/>
            </a:spcBef>
            <a:spcAft>
              <a:spcPct val="35000"/>
            </a:spcAft>
            <a:buNone/>
          </a:pPr>
          <a:r>
            <a:rPr lang="sl-SI" sz="1100" b="1" kern="1200" dirty="0"/>
            <a:t>Ali se klimatska naprava uporablja tudi za ogrevanje</a:t>
          </a:r>
        </a:p>
      </dsp:txBody>
      <dsp:txXfrm>
        <a:off x="18963" y="3515296"/>
        <a:ext cx="2504031" cy="350531"/>
      </dsp:txXfrm>
    </dsp:sp>
    <dsp:sp modelId="{22DBC66B-C1E0-43DF-8C92-BA9CE4851B6E}">
      <dsp:nvSpPr>
        <dsp:cNvPr id="0" name=""/>
        <dsp:cNvSpPr/>
      </dsp:nvSpPr>
      <dsp:spPr>
        <a:xfrm rot="5400000">
          <a:off x="4521755" y="1962918"/>
          <a:ext cx="559440" cy="4519036"/>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9525" rIns="19050" bIns="9525" numCol="1" spcCol="1270" anchor="ctr" anchorCtr="0">
          <a:noAutofit/>
        </a:bodyPr>
        <a:lstStyle/>
        <a:p>
          <a:pPr marL="57150" lvl="1" indent="-57150" algn="l" defTabSz="355600">
            <a:lnSpc>
              <a:spcPct val="90000"/>
            </a:lnSpc>
            <a:spcBef>
              <a:spcPct val="0"/>
            </a:spcBef>
            <a:spcAft>
              <a:spcPct val="15000"/>
            </a:spcAft>
            <a:buChar char="•"/>
          </a:pPr>
          <a:r>
            <a:rPr lang="sl-SI" sz="800" kern="1200"/>
            <a:t>Prihranek CO2 v kg CO2e/leto </a:t>
          </a:r>
        </a:p>
        <a:p>
          <a:pPr marL="57150" lvl="1" indent="-57150" algn="l" defTabSz="355600">
            <a:lnSpc>
              <a:spcPct val="90000"/>
            </a:lnSpc>
            <a:spcBef>
              <a:spcPct val="0"/>
            </a:spcBef>
            <a:spcAft>
              <a:spcPct val="15000"/>
            </a:spcAft>
            <a:buChar char="•"/>
          </a:pPr>
          <a:r>
            <a:rPr lang="sl-SI" sz="800" kern="1200"/>
            <a:t>Prihranek primarne energije v vkWh/leto </a:t>
          </a:r>
        </a:p>
        <a:p>
          <a:pPr marL="57150" lvl="1" indent="-57150" algn="l" defTabSz="355600">
            <a:lnSpc>
              <a:spcPct val="90000"/>
            </a:lnSpc>
            <a:spcBef>
              <a:spcPct val="0"/>
            </a:spcBef>
            <a:spcAft>
              <a:spcPct val="15000"/>
            </a:spcAft>
            <a:buChar char="•"/>
          </a:pPr>
          <a:r>
            <a:rPr lang="sl-SI" sz="800" kern="1200"/>
            <a:t>Prihranek končne energije v kWh/leto</a:t>
          </a:r>
        </a:p>
        <a:p>
          <a:pPr marL="57150" lvl="1" indent="-57150" algn="l" defTabSz="355600">
            <a:lnSpc>
              <a:spcPct val="90000"/>
            </a:lnSpc>
            <a:spcBef>
              <a:spcPct val="0"/>
            </a:spcBef>
            <a:spcAft>
              <a:spcPct val="15000"/>
            </a:spcAft>
            <a:buChar char="•"/>
          </a:pPr>
          <a:r>
            <a:rPr lang="sl-SI" sz="800" kern="1200"/>
            <a:t>Proizvodnja energije iz obnovljivih virov v </a:t>
          </a:r>
          <a:r>
            <a:rPr lang="sl-SI" sz="800" b="0" i="0" kern="1200"/>
            <a:t>kWh/year</a:t>
          </a:r>
          <a:endParaRPr lang="sl-SI" sz="800" b="0" kern="1200"/>
        </a:p>
        <a:p>
          <a:pPr marL="57150" lvl="1" indent="-57150" algn="l" defTabSz="355600">
            <a:lnSpc>
              <a:spcPct val="90000"/>
            </a:lnSpc>
            <a:spcBef>
              <a:spcPct val="0"/>
            </a:spcBef>
            <a:spcAft>
              <a:spcPct val="15000"/>
            </a:spcAft>
            <a:buChar char="•"/>
          </a:pPr>
          <a:r>
            <a:rPr lang="sl-SI" sz="800" kern="1200"/>
            <a:t>Ocena prihranka stroškov v EUR</a:t>
          </a:r>
        </a:p>
      </dsp:txBody>
      <dsp:txXfrm rot="-5400000">
        <a:off x="2541957" y="3970026"/>
        <a:ext cx="4491726" cy="504820"/>
      </dsp:txXfrm>
    </dsp:sp>
    <dsp:sp modelId="{7103CB86-C6FE-4680-937A-D58DDA0FF35E}">
      <dsp:nvSpPr>
        <dsp:cNvPr id="0" name=""/>
        <dsp:cNvSpPr/>
      </dsp:nvSpPr>
      <dsp:spPr>
        <a:xfrm>
          <a:off x="0" y="3918721"/>
          <a:ext cx="2541957" cy="607428"/>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0955" rIns="41910" bIns="20955" numCol="1" spcCol="1270" anchor="ctr" anchorCtr="0">
          <a:noAutofit/>
        </a:bodyPr>
        <a:lstStyle/>
        <a:p>
          <a:pPr marL="0" lvl="0" indent="0" algn="ctr" defTabSz="488950">
            <a:lnSpc>
              <a:spcPct val="90000"/>
            </a:lnSpc>
            <a:spcBef>
              <a:spcPct val="0"/>
            </a:spcBef>
            <a:spcAft>
              <a:spcPct val="35000"/>
            </a:spcAft>
            <a:buNone/>
          </a:pPr>
          <a:r>
            <a:rPr lang="en-US" sz="1100" b="1" kern="1200"/>
            <a:t>Ocenjeni vplivi (izračunani na podlagi greenchecker.eib.org):</a:t>
          </a:r>
          <a:endParaRPr lang="sl-SI" sz="1100" kern="1200"/>
        </a:p>
      </dsp:txBody>
      <dsp:txXfrm>
        <a:off x="29652" y="3948373"/>
        <a:ext cx="2482653" cy="548124"/>
      </dsp:txXfrm>
    </dsp:sp>
    <dsp:sp modelId="{2EECC300-BF5A-48AB-84B9-AA7FFBA14884}">
      <dsp:nvSpPr>
        <dsp:cNvPr id="0" name=""/>
        <dsp:cNvSpPr/>
      </dsp:nvSpPr>
      <dsp:spPr>
        <a:xfrm rot="5400000">
          <a:off x="4682616" y="2454533"/>
          <a:ext cx="237719" cy="4519036"/>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9525" rIns="19050" bIns="9525" numCol="1" spcCol="1270" anchor="ctr" anchorCtr="0">
          <a:noAutofit/>
        </a:bodyPr>
        <a:lstStyle/>
        <a:p>
          <a:pPr marL="57150" lvl="1" indent="-57150" algn="l" defTabSz="222250">
            <a:lnSpc>
              <a:spcPct val="90000"/>
            </a:lnSpc>
            <a:spcBef>
              <a:spcPct val="0"/>
            </a:spcBef>
            <a:spcAft>
              <a:spcPct val="15000"/>
            </a:spcAft>
            <a:buChar char="•"/>
          </a:pPr>
          <a:endParaRPr lang="sl-SI" sz="500" kern="1200"/>
        </a:p>
      </dsp:txBody>
      <dsp:txXfrm rot="-5400000">
        <a:off x="2541958" y="4606795"/>
        <a:ext cx="4507432" cy="214511"/>
      </dsp:txXfrm>
    </dsp:sp>
    <dsp:sp modelId="{1777ED9B-E174-40F0-B13B-C3EEC12AA822}">
      <dsp:nvSpPr>
        <dsp:cNvPr id="0" name=""/>
        <dsp:cNvSpPr/>
      </dsp:nvSpPr>
      <dsp:spPr>
        <a:xfrm>
          <a:off x="0" y="4560082"/>
          <a:ext cx="2541957" cy="307938"/>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0955" rIns="41910" bIns="20955" numCol="1" spcCol="1270" anchor="ctr" anchorCtr="0">
          <a:noAutofit/>
        </a:bodyPr>
        <a:lstStyle/>
        <a:p>
          <a:pPr marL="0" lvl="0" indent="0" algn="ctr" defTabSz="488950">
            <a:lnSpc>
              <a:spcPct val="90000"/>
            </a:lnSpc>
            <a:spcBef>
              <a:spcPct val="0"/>
            </a:spcBef>
            <a:spcAft>
              <a:spcPct val="35000"/>
            </a:spcAft>
            <a:buNone/>
          </a:pPr>
          <a:r>
            <a:rPr lang="sl-SI" sz="1100" kern="1200"/>
            <a:t>Višina investicije</a:t>
          </a:r>
        </a:p>
      </dsp:txBody>
      <dsp:txXfrm>
        <a:off x="15032" y="4575114"/>
        <a:ext cx="2511893" cy="27787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CEB5E8-BD49-47C9-8111-C2E5940C21F7}">
      <dsp:nvSpPr>
        <dsp:cNvPr id="0" name=""/>
        <dsp:cNvSpPr/>
      </dsp:nvSpPr>
      <dsp:spPr>
        <a:xfrm rot="5400000">
          <a:off x="4166090" y="-1785056"/>
          <a:ext cx="616873" cy="4211320"/>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2870" tIns="51435" rIns="102870" bIns="51435" numCol="1" spcCol="1270" anchor="ctr" anchorCtr="0">
          <a:noAutofit/>
        </a:bodyPr>
        <a:lstStyle/>
        <a:p>
          <a:pPr marL="57150" lvl="1" indent="-57150" algn="l" defTabSz="444500">
            <a:lnSpc>
              <a:spcPct val="90000"/>
            </a:lnSpc>
            <a:spcBef>
              <a:spcPct val="0"/>
            </a:spcBef>
            <a:spcAft>
              <a:spcPct val="15000"/>
            </a:spcAft>
            <a:buChar char="•"/>
          </a:pPr>
          <a:r>
            <a:rPr lang="sl-SI" sz="1000" kern="1200" dirty="0">
              <a:solidFill>
                <a:srgbClr val="757575">
                  <a:hueOff val="0"/>
                  <a:satOff val="0"/>
                  <a:lumOff val="0"/>
                  <a:alphaOff val="0"/>
                </a:srgbClr>
              </a:solidFill>
              <a:latin typeface="Arial"/>
              <a:ea typeface="+mn-ea"/>
              <a:cs typeface="+mn-cs"/>
            </a:rPr>
            <a:t>Trajnostno gospodarjenje z vodami in odpadnimi vodami ter odpadki </a:t>
          </a:r>
        </a:p>
      </dsp:txBody>
      <dsp:txXfrm rot="-5400000">
        <a:off x="2368867" y="42280"/>
        <a:ext cx="4181207" cy="556647"/>
      </dsp:txXfrm>
    </dsp:sp>
    <dsp:sp modelId="{4F3103D8-F6EA-4113-9D22-F995D226426F}">
      <dsp:nvSpPr>
        <dsp:cNvPr id="0" name=""/>
        <dsp:cNvSpPr/>
      </dsp:nvSpPr>
      <dsp:spPr>
        <a:xfrm>
          <a:off x="0" y="1100"/>
          <a:ext cx="2368867" cy="63900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sl-SI" sz="2000" b="1" kern="1200" dirty="0"/>
            <a:t>Zeleni namen</a:t>
          </a:r>
        </a:p>
      </dsp:txBody>
      <dsp:txXfrm>
        <a:off x="31194" y="32294"/>
        <a:ext cx="2306479" cy="576617"/>
      </dsp:txXfrm>
    </dsp:sp>
    <dsp:sp modelId="{C3AC3067-7AE3-436C-8183-035777957537}">
      <dsp:nvSpPr>
        <dsp:cNvPr id="0" name=""/>
        <dsp:cNvSpPr/>
      </dsp:nvSpPr>
      <dsp:spPr>
        <a:xfrm rot="5400000">
          <a:off x="4075355" y="-992656"/>
          <a:ext cx="798343" cy="4211320"/>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2870" tIns="51435" rIns="102870" bIns="51435" numCol="1" spcCol="1270" anchor="ctr" anchorCtr="0">
          <a:noAutofit/>
        </a:bodyPr>
        <a:lstStyle/>
        <a:p>
          <a:pPr marL="57150" lvl="1" indent="-57150" algn="l" defTabSz="444500">
            <a:lnSpc>
              <a:spcPct val="90000"/>
            </a:lnSpc>
            <a:spcBef>
              <a:spcPct val="0"/>
            </a:spcBef>
            <a:spcAft>
              <a:spcPct val="15000"/>
            </a:spcAft>
            <a:buChar char="•"/>
          </a:pPr>
          <a:r>
            <a:rPr lang="sl-SI" sz="1000" kern="1200" dirty="0"/>
            <a:t>Zbiranje in prevoz nenevarnih odpadkov v ločenih frakcijah vira (5.5.številka aktivnosti iz EU Taksonomije)</a:t>
          </a:r>
        </a:p>
      </dsp:txBody>
      <dsp:txXfrm rot="-5400000">
        <a:off x="2368867" y="752804"/>
        <a:ext cx="4172348" cy="720399"/>
      </dsp:txXfrm>
    </dsp:sp>
    <dsp:sp modelId="{50DA88A6-A998-4266-815A-5A3D434D37B6}">
      <dsp:nvSpPr>
        <dsp:cNvPr id="0" name=""/>
        <dsp:cNvSpPr/>
      </dsp:nvSpPr>
      <dsp:spPr>
        <a:xfrm>
          <a:off x="0" y="742350"/>
          <a:ext cx="2368867" cy="741307"/>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sl-SI" sz="2000" b="1" kern="1200"/>
            <a:t>Zelena vrsta investicije</a:t>
          </a:r>
          <a:endParaRPr lang="sl-SI" sz="2000" kern="1200"/>
        </a:p>
      </dsp:txBody>
      <dsp:txXfrm>
        <a:off x="36188" y="778538"/>
        <a:ext cx="2296491" cy="668931"/>
      </dsp:txXfrm>
    </dsp:sp>
    <dsp:sp modelId="{3446EB98-0C2B-4924-A54B-EEBF14A66AFC}">
      <dsp:nvSpPr>
        <dsp:cNvPr id="0" name=""/>
        <dsp:cNvSpPr/>
      </dsp:nvSpPr>
      <dsp:spPr>
        <a:xfrm rot="5400000">
          <a:off x="3969917" y="28660"/>
          <a:ext cx="1009221" cy="4211320"/>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2870" tIns="51435" rIns="102870" bIns="51435" numCol="1" spcCol="1270" anchor="ctr" anchorCtr="0">
          <a:noAutofit/>
        </a:bodyPr>
        <a:lstStyle/>
        <a:p>
          <a:pPr marL="57150" lvl="1" indent="-57150" algn="l" defTabSz="444500">
            <a:lnSpc>
              <a:spcPct val="90000"/>
            </a:lnSpc>
            <a:spcBef>
              <a:spcPct val="0"/>
            </a:spcBef>
            <a:spcAft>
              <a:spcPct val="15000"/>
            </a:spcAft>
            <a:buChar char="•"/>
          </a:pPr>
          <a:r>
            <a:rPr lang="sl-SI" sz="1000" kern="1200" dirty="0"/>
            <a:t>ločeno zbiranje in prevoz nenevarnih odpadkov v posameznih frakcijah ali mešanih frakcijah namenjenih pripravi za ponovno uporabo ali recikliranje.</a:t>
          </a:r>
        </a:p>
      </dsp:txBody>
      <dsp:txXfrm rot="-5400000">
        <a:off x="2368868" y="1678975"/>
        <a:ext cx="4162054" cy="910689"/>
      </dsp:txXfrm>
    </dsp:sp>
    <dsp:sp modelId="{7EBC1530-0B83-44D6-94B9-6E894E41449B}">
      <dsp:nvSpPr>
        <dsp:cNvPr id="0" name=""/>
        <dsp:cNvSpPr/>
      </dsp:nvSpPr>
      <dsp:spPr>
        <a:xfrm>
          <a:off x="0" y="1585900"/>
          <a:ext cx="2368867" cy="109683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sl-SI" sz="2000" b="1" kern="1200"/>
            <a:t>Opis</a:t>
          </a:r>
          <a:endParaRPr lang="sl-SI" sz="2000" kern="1200"/>
        </a:p>
      </dsp:txBody>
      <dsp:txXfrm>
        <a:off x="53543" y="1639443"/>
        <a:ext cx="2261781" cy="989753"/>
      </dsp:txXfrm>
    </dsp:sp>
    <dsp:sp modelId="{55008F07-2E45-492A-95AF-F8A244DA26B8}">
      <dsp:nvSpPr>
        <dsp:cNvPr id="0" name=""/>
        <dsp:cNvSpPr/>
      </dsp:nvSpPr>
      <dsp:spPr>
        <a:xfrm rot="5400000">
          <a:off x="4025753" y="1164323"/>
          <a:ext cx="897548" cy="4211320"/>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2870" tIns="51435" rIns="102870" bIns="51435" numCol="1" spcCol="1270" anchor="ctr" anchorCtr="0">
          <a:noAutofit/>
        </a:bodyPr>
        <a:lstStyle/>
        <a:p>
          <a:pPr marL="57150" lvl="1" indent="-57150" algn="l" defTabSz="400050">
            <a:lnSpc>
              <a:spcPct val="90000"/>
            </a:lnSpc>
            <a:spcBef>
              <a:spcPct val="0"/>
            </a:spcBef>
            <a:spcAft>
              <a:spcPct val="15000"/>
            </a:spcAft>
            <a:buChar char="•"/>
          </a:pPr>
          <a:r>
            <a:rPr lang="sl-SI" sz="900" kern="1200" dirty="0"/>
            <a:t>Vsi ločeno zbrani in prepeljani nenevarni odpadki, ločeni pri viru, so namenjeni pripravi za ponovno uporabo ali recikliranju.</a:t>
          </a:r>
        </a:p>
        <a:p>
          <a:pPr marL="114300" lvl="2" indent="-57150" algn="l" defTabSz="355600">
            <a:lnSpc>
              <a:spcPct val="90000"/>
            </a:lnSpc>
            <a:spcBef>
              <a:spcPct val="0"/>
            </a:spcBef>
            <a:spcAft>
              <a:spcPct val="15000"/>
            </a:spcAft>
            <a:buFont typeface="Arial" panose="020B0604020202020204" pitchFamily="34" charset="0"/>
            <a:buChar char="-"/>
          </a:pPr>
          <a:endParaRPr lang="sl-SI" sz="800" kern="1200" dirty="0"/>
        </a:p>
      </dsp:txBody>
      <dsp:txXfrm rot="-5400000">
        <a:off x="2368868" y="2865024"/>
        <a:ext cx="4167505" cy="809918"/>
      </dsp:txXfrm>
    </dsp:sp>
    <dsp:sp modelId="{0C416C2C-D66F-459F-91ED-34CB141140AD}">
      <dsp:nvSpPr>
        <dsp:cNvPr id="0" name=""/>
        <dsp:cNvSpPr/>
      </dsp:nvSpPr>
      <dsp:spPr>
        <a:xfrm>
          <a:off x="0" y="2756465"/>
          <a:ext cx="2368867" cy="102703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sl-SI" sz="2000" b="1" kern="1200" dirty="0"/>
            <a:t>Pomembni kriteriji </a:t>
          </a:r>
          <a:endParaRPr lang="sl-SI" sz="2000" kern="1200" dirty="0"/>
        </a:p>
      </dsp:txBody>
      <dsp:txXfrm>
        <a:off x="50136" y="2806601"/>
        <a:ext cx="2268595" cy="926764"/>
      </dsp:txXfrm>
    </dsp:sp>
    <dsp:sp modelId="{2EECC300-BF5A-48AB-84B9-AA7FFBA14884}">
      <dsp:nvSpPr>
        <dsp:cNvPr id="0" name=""/>
        <dsp:cNvSpPr/>
      </dsp:nvSpPr>
      <dsp:spPr>
        <a:xfrm rot="5400000">
          <a:off x="4216271" y="2086110"/>
          <a:ext cx="516513" cy="4211320"/>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2870" tIns="51435" rIns="102870" bIns="51435" numCol="1" spcCol="1270" anchor="ctr" anchorCtr="0">
          <a:noAutofit/>
        </a:bodyPr>
        <a:lstStyle/>
        <a:p>
          <a:pPr marL="228600" lvl="1" indent="-228600" algn="l" defTabSz="1200150">
            <a:lnSpc>
              <a:spcPct val="90000"/>
            </a:lnSpc>
            <a:spcBef>
              <a:spcPct val="0"/>
            </a:spcBef>
            <a:spcAft>
              <a:spcPct val="15000"/>
            </a:spcAft>
            <a:buChar char="•"/>
          </a:pPr>
          <a:endParaRPr lang="sl-SI" sz="2700" kern="1200"/>
        </a:p>
      </dsp:txBody>
      <dsp:txXfrm rot="-5400000">
        <a:off x="2368868" y="3958727"/>
        <a:ext cx="4186106" cy="466085"/>
      </dsp:txXfrm>
    </dsp:sp>
    <dsp:sp modelId="{1777ED9B-E174-40F0-B13B-C3EEC12AA822}">
      <dsp:nvSpPr>
        <dsp:cNvPr id="0" name=""/>
        <dsp:cNvSpPr/>
      </dsp:nvSpPr>
      <dsp:spPr>
        <a:xfrm>
          <a:off x="0" y="3857227"/>
          <a:ext cx="2368867" cy="66908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sl-SI" sz="2000" b="1" kern="1200" dirty="0"/>
            <a:t>Višina investicije</a:t>
          </a:r>
        </a:p>
      </dsp:txBody>
      <dsp:txXfrm>
        <a:off x="32662" y="3889889"/>
        <a:ext cx="2303543" cy="60376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CEB5E8-BD49-47C9-8111-C2E5940C21F7}">
      <dsp:nvSpPr>
        <dsp:cNvPr id="0" name=""/>
        <dsp:cNvSpPr/>
      </dsp:nvSpPr>
      <dsp:spPr>
        <a:xfrm rot="5400000">
          <a:off x="4166090" y="-1785056"/>
          <a:ext cx="616873" cy="4211320"/>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2870" tIns="51435" rIns="102870" bIns="51435" numCol="1" spcCol="1270" anchor="ctr" anchorCtr="0">
          <a:noAutofit/>
        </a:bodyPr>
        <a:lstStyle/>
        <a:p>
          <a:pPr marL="57150" lvl="1" indent="-57150" algn="l" defTabSz="466725">
            <a:lnSpc>
              <a:spcPct val="90000"/>
            </a:lnSpc>
            <a:spcBef>
              <a:spcPct val="0"/>
            </a:spcBef>
            <a:spcAft>
              <a:spcPct val="15000"/>
            </a:spcAft>
            <a:buChar char="•"/>
          </a:pPr>
          <a:r>
            <a:rPr lang="sl-SI" sz="1050" kern="1200" dirty="0">
              <a:solidFill>
                <a:srgbClr val="757575">
                  <a:hueOff val="0"/>
                  <a:satOff val="0"/>
                  <a:lumOff val="0"/>
                  <a:alphaOff val="0"/>
                </a:srgbClr>
              </a:solidFill>
              <a:latin typeface="Arial"/>
              <a:ea typeface="+mn-ea"/>
              <a:cs typeface="+mn-cs"/>
            </a:rPr>
            <a:t>Trajnostno gospodarjenje z vodami in odpadnimi vodami ter odpadki </a:t>
          </a:r>
          <a:endParaRPr lang="sl-SI" sz="1050" b="0" kern="1200" dirty="0"/>
        </a:p>
      </dsp:txBody>
      <dsp:txXfrm rot="-5400000">
        <a:off x="2368867" y="42280"/>
        <a:ext cx="4181207" cy="556647"/>
      </dsp:txXfrm>
    </dsp:sp>
    <dsp:sp modelId="{4F3103D8-F6EA-4113-9D22-F995D226426F}">
      <dsp:nvSpPr>
        <dsp:cNvPr id="0" name=""/>
        <dsp:cNvSpPr/>
      </dsp:nvSpPr>
      <dsp:spPr>
        <a:xfrm>
          <a:off x="0" y="1100"/>
          <a:ext cx="2368867" cy="63900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sl-SI" sz="2000" b="1" kern="1200" dirty="0"/>
            <a:t>Zeleni namen</a:t>
          </a:r>
        </a:p>
      </dsp:txBody>
      <dsp:txXfrm>
        <a:off x="31194" y="32294"/>
        <a:ext cx="2306479" cy="576617"/>
      </dsp:txXfrm>
    </dsp:sp>
    <dsp:sp modelId="{C3AC3067-7AE3-436C-8183-035777957537}">
      <dsp:nvSpPr>
        <dsp:cNvPr id="0" name=""/>
        <dsp:cNvSpPr/>
      </dsp:nvSpPr>
      <dsp:spPr>
        <a:xfrm rot="5400000">
          <a:off x="4075355" y="-992656"/>
          <a:ext cx="798343" cy="4211320"/>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2870" tIns="51435" rIns="102870" bIns="51435" numCol="1" spcCol="1270" anchor="ctr" anchorCtr="0">
          <a:noAutofit/>
        </a:bodyPr>
        <a:lstStyle/>
        <a:p>
          <a:pPr marL="57150" lvl="1" indent="-57150" algn="l" defTabSz="444500">
            <a:lnSpc>
              <a:spcPct val="90000"/>
            </a:lnSpc>
            <a:spcBef>
              <a:spcPct val="0"/>
            </a:spcBef>
            <a:spcAft>
              <a:spcPct val="15000"/>
            </a:spcAft>
            <a:buChar char="•"/>
          </a:pPr>
          <a:r>
            <a:rPr lang="sl-SI" sz="1000" kern="1200" dirty="0"/>
            <a:t>Predelava snovi iz nenevarnih odpadkov (5.9.številka aktivnosti iz EU Taksonomije)</a:t>
          </a:r>
        </a:p>
      </dsp:txBody>
      <dsp:txXfrm rot="-5400000">
        <a:off x="2368867" y="752804"/>
        <a:ext cx="4172348" cy="720399"/>
      </dsp:txXfrm>
    </dsp:sp>
    <dsp:sp modelId="{50DA88A6-A998-4266-815A-5A3D434D37B6}">
      <dsp:nvSpPr>
        <dsp:cNvPr id="0" name=""/>
        <dsp:cNvSpPr/>
      </dsp:nvSpPr>
      <dsp:spPr>
        <a:xfrm>
          <a:off x="0" y="742350"/>
          <a:ext cx="2368867" cy="741307"/>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sl-SI" sz="2000" b="1" kern="1200"/>
            <a:t>Zelena vrsta investicije</a:t>
          </a:r>
          <a:endParaRPr lang="sl-SI" sz="2000" kern="1200"/>
        </a:p>
      </dsp:txBody>
      <dsp:txXfrm>
        <a:off x="36188" y="778538"/>
        <a:ext cx="2296491" cy="668931"/>
      </dsp:txXfrm>
    </dsp:sp>
    <dsp:sp modelId="{3446EB98-0C2B-4924-A54B-EEBF14A66AFC}">
      <dsp:nvSpPr>
        <dsp:cNvPr id="0" name=""/>
        <dsp:cNvSpPr/>
      </dsp:nvSpPr>
      <dsp:spPr>
        <a:xfrm rot="5400000">
          <a:off x="3969917" y="28660"/>
          <a:ext cx="1009221" cy="4211320"/>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2870" tIns="51435" rIns="102870" bIns="51435" numCol="1" spcCol="1270" anchor="ctr" anchorCtr="0">
          <a:noAutofit/>
        </a:bodyPr>
        <a:lstStyle/>
        <a:p>
          <a:pPr marL="57150" lvl="1" indent="-57150" algn="l" defTabSz="444500">
            <a:lnSpc>
              <a:spcPct val="90000"/>
            </a:lnSpc>
            <a:spcBef>
              <a:spcPct val="0"/>
            </a:spcBef>
            <a:spcAft>
              <a:spcPct val="15000"/>
            </a:spcAft>
            <a:buChar char="•"/>
          </a:pPr>
          <a:r>
            <a:rPr lang="sl-SI" sz="1000" kern="1200" dirty="0"/>
            <a:t>Gradnja in obratovanje objektov za sortiranje in predelavo ločeno zbranih tokov nenevarnih odpadkov v sekundarne surovine, ki vključujejo mehansko predelavo, razen za namene zasipanja. </a:t>
          </a:r>
        </a:p>
      </dsp:txBody>
      <dsp:txXfrm rot="-5400000">
        <a:off x="2368868" y="1678975"/>
        <a:ext cx="4162054" cy="910689"/>
      </dsp:txXfrm>
    </dsp:sp>
    <dsp:sp modelId="{7EBC1530-0B83-44D6-94B9-6E894E41449B}">
      <dsp:nvSpPr>
        <dsp:cNvPr id="0" name=""/>
        <dsp:cNvSpPr/>
      </dsp:nvSpPr>
      <dsp:spPr>
        <a:xfrm>
          <a:off x="0" y="1585900"/>
          <a:ext cx="2368867" cy="109683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sl-SI" sz="2000" b="1" kern="1200"/>
            <a:t>Opis</a:t>
          </a:r>
          <a:endParaRPr lang="sl-SI" sz="2000" kern="1200"/>
        </a:p>
      </dsp:txBody>
      <dsp:txXfrm>
        <a:off x="53543" y="1639443"/>
        <a:ext cx="2261781" cy="989753"/>
      </dsp:txXfrm>
    </dsp:sp>
    <dsp:sp modelId="{55008F07-2E45-492A-95AF-F8A244DA26B8}">
      <dsp:nvSpPr>
        <dsp:cNvPr id="0" name=""/>
        <dsp:cNvSpPr/>
      </dsp:nvSpPr>
      <dsp:spPr>
        <a:xfrm rot="5400000">
          <a:off x="4025753" y="1164323"/>
          <a:ext cx="897548" cy="4211320"/>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2870" tIns="51435" rIns="102870" bIns="51435" numCol="1" spcCol="1270" anchor="ctr" anchorCtr="0">
          <a:noAutofit/>
        </a:bodyPr>
        <a:lstStyle/>
        <a:p>
          <a:pPr marL="57150" lvl="1" indent="-57150" algn="l" defTabSz="400050">
            <a:lnSpc>
              <a:spcPct val="90000"/>
            </a:lnSpc>
            <a:spcBef>
              <a:spcPct val="0"/>
            </a:spcBef>
            <a:spcAft>
              <a:spcPct val="15000"/>
            </a:spcAft>
            <a:buChar char="•"/>
          </a:pPr>
          <a:r>
            <a:rPr lang="sl-SI" sz="900" kern="1200" dirty="0"/>
            <a:t>Z dejavnostjo se vsaj 50 % po teži predelanih ločeno zbranih nenevarnih odpadkov pretvori v sekundarne surovine, ki so primerne za nadomestitev primarnih materialov v proizvodnih procesih.</a:t>
          </a:r>
        </a:p>
        <a:p>
          <a:pPr marL="114300" lvl="2" indent="-57150" algn="l" defTabSz="355600">
            <a:lnSpc>
              <a:spcPct val="90000"/>
            </a:lnSpc>
            <a:spcBef>
              <a:spcPct val="0"/>
            </a:spcBef>
            <a:spcAft>
              <a:spcPct val="15000"/>
            </a:spcAft>
            <a:buFont typeface="Arial" panose="020B0604020202020204" pitchFamily="34" charset="0"/>
            <a:buChar char="-"/>
          </a:pPr>
          <a:endParaRPr lang="sl-SI" sz="800" kern="1200" dirty="0"/>
        </a:p>
      </dsp:txBody>
      <dsp:txXfrm rot="-5400000">
        <a:off x="2368868" y="2865024"/>
        <a:ext cx="4167505" cy="809918"/>
      </dsp:txXfrm>
    </dsp:sp>
    <dsp:sp modelId="{0C416C2C-D66F-459F-91ED-34CB141140AD}">
      <dsp:nvSpPr>
        <dsp:cNvPr id="0" name=""/>
        <dsp:cNvSpPr/>
      </dsp:nvSpPr>
      <dsp:spPr>
        <a:xfrm>
          <a:off x="0" y="2756465"/>
          <a:ext cx="2368867" cy="102703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sl-SI" sz="2000" b="1" kern="1200" dirty="0"/>
            <a:t>Pomembni kriteriji </a:t>
          </a:r>
          <a:endParaRPr lang="sl-SI" sz="2000" kern="1200" dirty="0"/>
        </a:p>
      </dsp:txBody>
      <dsp:txXfrm>
        <a:off x="50136" y="2806601"/>
        <a:ext cx="2268595" cy="926764"/>
      </dsp:txXfrm>
    </dsp:sp>
    <dsp:sp modelId="{2EECC300-BF5A-48AB-84B9-AA7FFBA14884}">
      <dsp:nvSpPr>
        <dsp:cNvPr id="0" name=""/>
        <dsp:cNvSpPr/>
      </dsp:nvSpPr>
      <dsp:spPr>
        <a:xfrm rot="5400000">
          <a:off x="4216271" y="2086110"/>
          <a:ext cx="516513" cy="4211320"/>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2870" tIns="51435" rIns="102870" bIns="51435" numCol="1" spcCol="1270" anchor="ctr" anchorCtr="0">
          <a:noAutofit/>
        </a:bodyPr>
        <a:lstStyle/>
        <a:p>
          <a:pPr marL="228600" lvl="1" indent="-228600" algn="l" defTabSz="1200150">
            <a:lnSpc>
              <a:spcPct val="90000"/>
            </a:lnSpc>
            <a:spcBef>
              <a:spcPct val="0"/>
            </a:spcBef>
            <a:spcAft>
              <a:spcPct val="15000"/>
            </a:spcAft>
            <a:buChar char="•"/>
          </a:pPr>
          <a:endParaRPr lang="sl-SI" sz="2700" kern="1200"/>
        </a:p>
      </dsp:txBody>
      <dsp:txXfrm rot="-5400000">
        <a:off x="2368868" y="3958727"/>
        <a:ext cx="4186106" cy="466085"/>
      </dsp:txXfrm>
    </dsp:sp>
    <dsp:sp modelId="{1777ED9B-E174-40F0-B13B-C3EEC12AA822}">
      <dsp:nvSpPr>
        <dsp:cNvPr id="0" name=""/>
        <dsp:cNvSpPr/>
      </dsp:nvSpPr>
      <dsp:spPr>
        <a:xfrm>
          <a:off x="0" y="3857227"/>
          <a:ext cx="2368867" cy="66908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sl-SI" sz="2000" b="1" kern="1200" dirty="0"/>
            <a:t>Višina investicije</a:t>
          </a:r>
        </a:p>
      </dsp:txBody>
      <dsp:txXfrm>
        <a:off x="32662" y="3889889"/>
        <a:ext cx="2303543" cy="603761"/>
      </dsp:txXfrm>
    </dsp:sp>
  </dsp:spTree>
</dsp:drawing>
</file>

<file path=ppt/diagrams/layout1.xml><?xml version="1.0" encoding="utf-8"?>
<dgm:layoutDef xmlns:dgm="http://schemas.openxmlformats.org/drawingml/2006/diagram" xmlns:a="http://schemas.openxmlformats.org/drawingml/2006/main" uniqueId="urn:microsoft.com/office/officeart/2005/8/layout/lProcess1">
  <dgm:title val=""/>
  <dgm:desc val=""/>
  <dgm:catLst>
    <dgm:cat type="process" pri="1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0" destId="2" srcOrd="0" destOrd="0"/>
        <dgm:cxn modelId="6" srcId="1" destId="3" srcOrd="1" destOrd="0"/>
        <dgm:cxn modelId="23" srcId="2" destId="21" srcOrd="0" destOrd="0"/>
        <dgm:cxn modelId="24" srcId="2" destId="22" srcOrd="1" destOrd="0"/>
        <dgm:cxn modelId="33" srcId="1" destId="31" srcOrd="0" destOrd="0"/>
      </dgm:cxnLst>
      <dgm:bg/>
      <dgm:whole/>
    </dgm:dataModel>
  </dgm:sampData>
  <dgm:styleData>
    <dgm:dataModel>
      <dgm:ptLst>
        <dgm:pt modelId="0" type="doc"/>
        <dgm:pt modelId="1"/>
        <dgm:pt modelId="11"/>
        <dgm:pt modelId="2"/>
        <dgm:pt modelId="22"/>
      </dgm:ptLst>
      <dgm:cxnLst>
        <dgm:cxn modelId="3" srcId="0" destId="1" srcOrd="0" destOrd="0"/>
        <dgm:cxn modelId="4" srcId="0" destId="2" srcOrd="0" destOrd="0"/>
        <dgm:cxn modelId="5" srcId="1" destId="11" srcOrd="0" destOrd="0"/>
        <dgm:cxn modelId="6" srcId="2" destId="2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vertAlign" val="mid"/>
          <dgm:param type="nodeHorzAlign" val="l"/>
          <dgm:param type="nodeVertAlign" val="t"/>
          <dgm:param type="fallback" val="2D"/>
        </dgm:alg>
      </dgm:if>
      <dgm:else name="Name3">
        <dgm:alg type="lin">
          <dgm:param type="linDir" val="fromR"/>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h" for="des" forName="header" refType="h"/>
      <dgm:constr type="w" for="des" forName="header" refType="h" refFor="des" refForName="header" op="equ" fact="4"/>
      <dgm:constr type="h" for="des" forName="child" refType="h" refFor="des" refForName="header" op="equ"/>
      <dgm:constr type="w" for="des" forName="child" refType="w" refFor="des" refForName="header" op="equ"/>
      <dgm:constr type="w" for="ch" forName="hSp" refType="w" refFor="des" refForName="header" op="equ" fact="0.14"/>
      <dgm:constr type="h" for="des" forName="parTrans" refType="h" refFor="des" refForName="header" op="equ" fact="0.35"/>
      <dgm:constr type="h" for="des" forName="sibTrans" refType="h" refFor="des" refForName="parTrans" op="equ"/>
      <dgm:constr type="primFontSz" for="des" forName="child" op="equ" val="65"/>
      <dgm:constr type="primFontSz" for="des" forName="header" op="equ" val="65"/>
    </dgm:constrLst>
    <dgm:ruleLst/>
    <dgm:forEach name="Name4" axis="ch" ptType="node">
      <dgm:layoutNode name="vertFlow">
        <dgm:choose name="Name5">
          <dgm:if name="Name6" func="var" arg="dir" op="equ" val="norm">
            <dgm:alg type="lin">
              <dgm:param type="linDir" val="fromT"/>
              <dgm:param type="nodeHorzAlign" val="ctr"/>
              <dgm:param type="nodeVertAlign" val="t"/>
              <dgm:param type="fallback" val="2D"/>
            </dgm:alg>
          </dgm:if>
          <dgm:else name="Name7">
            <dgm:alg type="lin">
              <dgm:param type="linDir" val="fromT"/>
              <dgm:param type="nodeHorzAlign" val="ctr"/>
              <dgm:param type="nodeVertAlign" val="t"/>
              <dgm:param type="fallback" val="2D"/>
            </dgm:alg>
          </dgm:else>
        </dgm:choose>
        <dgm:shape xmlns:r="http://schemas.openxmlformats.org/officeDocument/2006/relationships" r:blip="">
          <dgm:adjLst/>
        </dgm:shape>
        <dgm:presOf/>
        <dgm:constrLst/>
        <dgm:ruleLst/>
        <dgm:layoutNode name="header" styleLbl="node1">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8" axis="ch" ptType="parTrans" cnt="1">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connDist" fact="0.25"/>
              <dgm:constr type="endPad" refType="connDist" fact="0.25"/>
            </dgm:constrLst>
            <dgm:ruleLst/>
          </dgm:layoutNode>
        </dgm:forEach>
        <dgm:forEach name="Name9" axis="ch" ptType="node">
          <dgm:layoutNode name="child" styleLbl="alignAccFollowNode1">
            <dgm:varLst>
              <dgm:chMax val="0"/>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0" axis="followSib" ptType="sibTrans" cnt="1">
            <dgm:layoutNode name="sib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w" fact="0.25"/>
                <dgm:constr type="endPad" refType="w" fact="0.25"/>
              </dgm:constrLst>
              <dgm:ruleLst/>
            </dgm:layoutNode>
          </dgm:forEach>
        </dgm:forEach>
      </dgm:layoutNode>
      <dgm:choose name="Name11">
        <dgm:if name="Name12" axis="self" ptType="node" func="revPos" op="gte" val="2">
          <dgm:layoutNode name="hSp">
            <dgm:alg type="sp"/>
            <dgm:shape xmlns:r="http://schemas.openxmlformats.org/officeDocument/2006/relationships" r:blip="">
              <dgm:adjLst/>
            </dgm:shape>
            <dgm:presOf/>
            <dgm:constrLst/>
            <dgm:ruleLst/>
          </dgm:layoutNode>
        </dgm:if>
        <dgm:else name="Name13"/>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sl-SI"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5CA1B2C-99EA-48CD-8B96-34083B218032}" type="datetimeFigureOut">
              <a:rPr lang="sl-SI" smtClean="0"/>
              <a:t>19. 10. 2023</a:t>
            </a:fld>
            <a:endParaRPr lang="sl-SI"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sl-SI"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l-SI"/>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sl-SI"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81D1FB9-B598-4764-B45E-B538C0116290}" type="slidenum">
              <a:rPr lang="sl-SI" smtClean="0"/>
              <a:t>‹#›</a:t>
            </a:fld>
            <a:endParaRPr lang="sl-SI" dirty="0"/>
          </a:p>
        </p:txBody>
      </p:sp>
    </p:spTree>
    <p:extLst>
      <p:ext uri="{BB962C8B-B14F-4D97-AF65-F5344CB8AC3E}">
        <p14:creationId xmlns:p14="http://schemas.microsoft.com/office/powerpoint/2010/main" val="11061298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26EF65-FE74-4964-9806-2768B2ABE292}" type="slidenum">
              <a:rPr kumimoji="0" lang="en-U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9948157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26EF65-FE74-4964-9806-2768B2ABE292}" type="slidenum">
              <a:rPr kumimoji="0" lang="en-U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15892451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26EF65-FE74-4964-9806-2768B2ABE292}" type="slidenum">
              <a:rPr kumimoji="0" lang="en-U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41197098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81D1FB9-B598-4764-B45E-B538C0116290}" type="slidenum">
              <a:rPr lang="sl-SI" smtClean="0"/>
              <a:t>7</a:t>
            </a:fld>
            <a:endParaRPr lang="sl-SI" dirty="0"/>
          </a:p>
        </p:txBody>
      </p:sp>
    </p:spTree>
    <p:extLst>
      <p:ext uri="{BB962C8B-B14F-4D97-AF65-F5344CB8AC3E}">
        <p14:creationId xmlns:p14="http://schemas.microsoft.com/office/powerpoint/2010/main" val="427294817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p:nvPr>
        </p:nvSpPr>
        <p:spPr>
          <a:xfrm>
            <a:off x="501582" y="1368532"/>
            <a:ext cx="10963267" cy="936104"/>
          </a:xfrm>
        </p:spPr>
        <p:txBody>
          <a:bodyPr wrap="none" anchor="t" anchorCtr="0">
            <a:noAutofit/>
          </a:bodyPr>
          <a:lstStyle>
            <a:lvl1pPr algn="l">
              <a:defRPr sz="5600" b="0"/>
            </a:lvl1pPr>
          </a:lstStyle>
          <a:p>
            <a:r>
              <a:rPr lang="en-US" noProof="0"/>
              <a:t>Click to edit Master title style</a:t>
            </a:r>
            <a:endParaRPr lang="sl-SI" noProof="0" dirty="0"/>
          </a:p>
        </p:txBody>
      </p:sp>
      <p:sp>
        <p:nvSpPr>
          <p:cNvPr id="3" name="Subtitle 2"/>
          <p:cNvSpPr>
            <a:spLocks noGrp="1"/>
          </p:cNvSpPr>
          <p:nvPr>
            <p:ph type="subTitle" idx="1"/>
          </p:nvPr>
        </p:nvSpPr>
        <p:spPr>
          <a:xfrm>
            <a:off x="536912" y="3544550"/>
            <a:ext cx="10956588" cy="1752600"/>
          </a:xfrm>
        </p:spPr>
        <p:txBody>
          <a:bodyPr>
            <a:normAutofit/>
          </a:bodyPr>
          <a:lstStyle>
            <a:lvl1pPr marL="0" indent="0" algn="l">
              <a:spcBef>
                <a:spcPts val="0"/>
              </a:spcBef>
              <a:buNone/>
              <a:defRPr sz="1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sl-SI" noProof="0" dirty="0"/>
          </a:p>
        </p:txBody>
      </p:sp>
      <p:sp>
        <p:nvSpPr>
          <p:cNvPr id="12" name="Text Placeholder 11"/>
          <p:cNvSpPr>
            <a:spLocks noGrp="1"/>
          </p:cNvSpPr>
          <p:nvPr>
            <p:ph type="body" sz="quarter" idx="10"/>
          </p:nvPr>
        </p:nvSpPr>
        <p:spPr>
          <a:xfrm>
            <a:off x="521644" y="2276872"/>
            <a:ext cx="10952805" cy="1008112"/>
          </a:xfrm>
        </p:spPr>
        <p:txBody>
          <a:bodyPr>
            <a:noAutofit/>
          </a:bodyPr>
          <a:lstStyle>
            <a:lvl1pPr marL="0" indent="0">
              <a:buNone/>
              <a:defRPr sz="2800" b="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Click to edit Master text styles</a:t>
            </a:r>
          </a:p>
        </p:txBody>
      </p:sp>
      <p:sp>
        <p:nvSpPr>
          <p:cNvPr id="5" name="Text Placeholder 4"/>
          <p:cNvSpPr>
            <a:spLocks noGrp="1"/>
          </p:cNvSpPr>
          <p:nvPr>
            <p:ph type="body" sz="quarter" idx="11" hasCustomPrompt="1"/>
          </p:nvPr>
        </p:nvSpPr>
        <p:spPr>
          <a:xfrm>
            <a:off x="560918" y="5991050"/>
            <a:ext cx="5087540" cy="174254"/>
          </a:xfrm>
        </p:spPr>
        <p:txBody>
          <a:bodyPr tIns="0" bIns="0"/>
          <a:lstStyle>
            <a:lvl1pPr marL="0" indent="0">
              <a:buNone/>
              <a:defRPr sz="1200"/>
            </a:lvl1pPr>
            <a:lvl2pPr marL="144000" indent="0">
              <a:buNone/>
              <a:defRPr/>
            </a:lvl2pPr>
            <a:lvl3pPr marL="288000" indent="0">
              <a:buNone/>
              <a:defRPr/>
            </a:lvl3pPr>
            <a:lvl4pPr marL="432000" indent="0">
              <a:buNone/>
              <a:defRPr/>
            </a:lvl4pPr>
            <a:lvl5pPr marL="576000" indent="0">
              <a:buNone/>
              <a:defRPr/>
            </a:lvl5pPr>
          </a:lstStyle>
          <a:p>
            <a:pPr lvl="0"/>
            <a:r>
              <a:rPr lang="sl-SI" dirty="0"/>
              <a:t>Avtor </a:t>
            </a:r>
            <a:r>
              <a:rPr lang="sl-SI" dirty="0" err="1"/>
              <a:t>prezentacije</a:t>
            </a:r>
            <a:endParaRPr lang="sl-SI" dirty="0"/>
          </a:p>
        </p:txBody>
      </p:sp>
      <p:sp>
        <p:nvSpPr>
          <p:cNvPr id="7" name="Slide Number Placeholder 3"/>
          <p:cNvSpPr>
            <a:spLocks noGrp="1"/>
          </p:cNvSpPr>
          <p:nvPr>
            <p:ph type="sldNum" sz="quarter" idx="4"/>
          </p:nvPr>
        </p:nvSpPr>
        <p:spPr>
          <a:xfrm>
            <a:off x="9936427" y="6648067"/>
            <a:ext cx="1632181" cy="182562"/>
          </a:xfrm>
          <a:prstGeom prst="rect">
            <a:avLst/>
          </a:prstGeom>
        </p:spPr>
        <p:txBody>
          <a:bodyPr vert="horz" lIns="91440" tIns="0" rIns="0" bIns="0" rtlCol="0" anchor="ctr" anchorCtr="0"/>
          <a:lstStyle>
            <a:lvl1pPr algn="r">
              <a:defRPr sz="1000">
                <a:solidFill>
                  <a:schemeClr val="tx2"/>
                </a:solidFill>
              </a:defRPr>
            </a:lvl1pPr>
          </a:lstStyle>
          <a:p>
            <a:fld id="{4E4FABFB-D960-4827-A99E-1FF56FC4539E}" type="slidenum">
              <a:rPr lang="sl-SI" smtClean="0"/>
              <a:pPr/>
              <a:t>‹#›</a:t>
            </a:fld>
            <a:endParaRPr lang="sl-SI" dirty="0"/>
          </a:p>
        </p:txBody>
      </p:sp>
    </p:spTree>
    <p:extLst>
      <p:ext uri="{BB962C8B-B14F-4D97-AF65-F5344CB8AC3E}">
        <p14:creationId xmlns:p14="http://schemas.microsoft.com/office/powerpoint/2010/main" val="6281319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Blank Slide">
    <p:spTree>
      <p:nvGrpSpPr>
        <p:cNvPr id="1" name=""/>
        <p:cNvGrpSpPr/>
        <p:nvPr/>
      </p:nvGrpSpPr>
      <p:grpSpPr>
        <a:xfrm>
          <a:off x="0" y="0"/>
          <a:ext cx="0" cy="0"/>
          <a:chOff x="0" y="0"/>
          <a:chExt cx="0" cy="0"/>
        </a:xfrm>
      </p:grpSpPr>
      <p:pic>
        <p:nvPicPr>
          <p:cNvPr id="3" name="Slika 2">
            <a:extLst>
              <a:ext uri="{FF2B5EF4-FFF2-40B4-BE49-F238E27FC236}">
                <a16:creationId xmlns:a16="http://schemas.microsoft.com/office/drawing/2014/main" id="{FB011A13-3024-40A6-B24D-38C263C1124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Title 1">
            <a:extLst>
              <a:ext uri="{FF2B5EF4-FFF2-40B4-BE49-F238E27FC236}">
                <a16:creationId xmlns:a16="http://schemas.microsoft.com/office/drawing/2014/main" id="{09B0BAD2-797D-480B-BE04-97B3EFF24715}"/>
              </a:ext>
            </a:extLst>
          </p:cNvPr>
          <p:cNvSpPr txBox="1">
            <a:spLocks noGrp="1"/>
          </p:cNvSpPr>
          <p:nvPr>
            <p:ph type="title" hasCustomPrompt="1"/>
          </p:nvPr>
        </p:nvSpPr>
        <p:spPr>
          <a:xfrm>
            <a:off x="2912182" y="4165380"/>
            <a:ext cx="6300000" cy="1367997"/>
          </a:xfrm>
        </p:spPr>
        <p:txBody>
          <a:bodyPr>
            <a:normAutofit/>
          </a:bodyPr>
          <a:lstStyle>
            <a:lvl1pPr algn="ctr">
              <a:defRPr sz="2800"/>
            </a:lvl1pPr>
          </a:lstStyle>
          <a:p>
            <a:pPr lvl="0"/>
            <a:r>
              <a:rPr lang="en-US"/>
              <a:t>Click to edit Master title style</a:t>
            </a:r>
            <a:endParaRPr lang="en-GB"/>
          </a:p>
        </p:txBody>
      </p:sp>
    </p:spTree>
    <p:extLst>
      <p:ext uri="{BB962C8B-B14F-4D97-AF65-F5344CB8AC3E}">
        <p14:creationId xmlns:p14="http://schemas.microsoft.com/office/powerpoint/2010/main" val="28052576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Naslovni diapozitiv">
    <p:spTree>
      <p:nvGrpSpPr>
        <p:cNvPr id="1" name=""/>
        <p:cNvGrpSpPr/>
        <p:nvPr/>
      </p:nvGrpSpPr>
      <p:grpSpPr>
        <a:xfrm>
          <a:off x="0" y="0"/>
          <a:ext cx="0" cy="0"/>
          <a:chOff x="0" y="0"/>
          <a:chExt cx="0" cy="0"/>
        </a:xfrm>
      </p:grpSpPr>
      <p:sp>
        <p:nvSpPr>
          <p:cNvPr id="2" name="Naslov 1"/>
          <p:cNvSpPr>
            <a:spLocks noGrp="1"/>
          </p:cNvSpPr>
          <p:nvPr>
            <p:ph type="ctrTitle"/>
          </p:nvPr>
        </p:nvSpPr>
        <p:spPr>
          <a:xfrm>
            <a:off x="914400" y="2130426"/>
            <a:ext cx="10363200" cy="1470025"/>
          </a:xfrm>
        </p:spPr>
        <p:txBody>
          <a:bodyPr/>
          <a:lstStyle/>
          <a:p>
            <a:r>
              <a:rPr lang="sl-SI"/>
              <a:t>Uredite slog naslova matrice</a:t>
            </a:r>
          </a:p>
        </p:txBody>
      </p:sp>
      <p:sp>
        <p:nvSpPr>
          <p:cNvPr id="3" name="Podnaslov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sl-SI"/>
              <a:t>Uredite slog podnaslova matrice</a:t>
            </a:r>
          </a:p>
        </p:txBody>
      </p:sp>
      <p:sp>
        <p:nvSpPr>
          <p:cNvPr id="4" name="Rectangle 5">
            <a:extLst>
              <a:ext uri="{FF2B5EF4-FFF2-40B4-BE49-F238E27FC236}">
                <a16:creationId xmlns:a16="http://schemas.microsoft.com/office/drawing/2014/main" id="{43BB4FAD-ED5C-481B-99BD-875B71B3D183}"/>
              </a:ext>
            </a:extLst>
          </p:cNvPr>
          <p:cNvSpPr>
            <a:spLocks noGrp="1" noChangeArrowheads="1"/>
          </p:cNvSpPr>
          <p:nvPr>
            <p:ph type="ftr" sz="quarter" idx="10"/>
          </p:nvPr>
        </p:nvSpPr>
        <p:spPr/>
        <p:txBody>
          <a:bodyPr/>
          <a:lstStyle>
            <a:lvl1pPr>
              <a:defRPr/>
            </a:lvl1pPr>
          </a:lstStyle>
          <a:p>
            <a:pPr>
              <a:defRPr/>
            </a:pPr>
            <a:endParaRPr lang="sl-SI" altLang="sl-SI"/>
          </a:p>
        </p:txBody>
      </p:sp>
      <p:sp>
        <p:nvSpPr>
          <p:cNvPr id="5" name="Rectangle 6">
            <a:extLst>
              <a:ext uri="{FF2B5EF4-FFF2-40B4-BE49-F238E27FC236}">
                <a16:creationId xmlns:a16="http://schemas.microsoft.com/office/drawing/2014/main" id="{12C03E0D-1DF9-44A4-B7A6-877A5934C7DF}"/>
              </a:ext>
            </a:extLst>
          </p:cNvPr>
          <p:cNvSpPr>
            <a:spLocks noGrp="1" noChangeArrowheads="1"/>
          </p:cNvSpPr>
          <p:nvPr>
            <p:ph type="sldNum" sz="quarter" idx="11"/>
          </p:nvPr>
        </p:nvSpPr>
        <p:spPr/>
        <p:txBody>
          <a:bodyPr/>
          <a:lstStyle>
            <a:lvl1pPr>
              <a:defRPr/>
            </a:lvl1pPr>
          </a:lstStyle>
          <a:p>
            <a:pPr>
              <a:defRPr/>
            </a:pPr>
            <a:fld id="{C7E30386-8DAC-4717-AC36-AAFF3D4F8F1C}" type="slidenum">
              <a:rPr lang="sl-SI" altLang="sl-SI"/>
              <a:pPr>
                <a:defRPr/>
              </a:pPr>
              <a:t>‹#›</a:t>
            </a:fld>
            <a:endParaRPr lang="sl-SI" altLang="sl-SI"/>
          </a:p>
        </p:txBody>
      </p:sp>
    </p:spTree>
    <p:extLst>
      <p:ext uri="{BB962C8B-B14F-4D97-AF65-F5344CB8AC3E}">
        <p14:creationId xmlns:p14="http://schemas.microsoft.com/office/powerpoint/2010/main" val="443308568"/>
      </p:ext>
    </p:extLst>
  </p:cSld>
  <p:clrMapOvr>
    <a:masterClrMapping/>
  </p:clrMapOvr>
  <p:transition advClick="0" advTm="500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200" y="360000"/>
            <a:ext cx="11131200" cy="1368000"/>
          </a:xfrm>
        </p:spPr>
        <p:txBody>
          <a:bodyPr/>
          <a:lstStyle>
            <a:lvl1pPr>
              <a:defRPr/>
            </a:lvl1pPr>
          </a:lstStyle>
          <a:p>
            <a:r>
              <a:rPr lang="en-US" noProof="0"/>
              <a:t>Click to edit Master title style</a:t>
            </a:r>
            <a:endParaRPr lang="sl-SI" noProof="0" dirty="0"/>
          </a:p>
        </p:txBody>
      </p:sp>
      <p:sp>
        <p:nvSpPr>
          <p:cNvPr id="3" name="Content Placeholder 2"/>
          <p:cNvSpPr>
            <a:spLocks noGrp="1"/>
          </p:cNvSpPr>
          <p:nvPr>
            <p:ph idx="1"/>
          </p:nvPr>
        </p:nvSpPr>
        <p:spPr/>
        <p:txBody>
          <a:bodyPr/>
          <a:lstStyle>
            <a:lvl1pPr marL="144000" indent="-144000">
              <a:spcBef>
                <a:spcPts val="40"/>
              </a:spcBef>
              <a:defRPr/>
            </a:lvl1pPr>
            <a:lvl2pPr>
              <a:spcBef>
                <a:spcPts val="40"/>
              </a:spcBef>
              <a:defRPr/>
            </a:lvl2pPr>
            <a:lvl3pPr>
              <a:spcBef>
                <a:spcPts val="40"/>
              </a:spcBef>
              <a:defRPr/>
            </a:lvl3pPr>
            <a:lvl4pPr>
              <a:spcBef>
                <a:spcPts val="40"/>
              </a:spcBef>
              <a:defRPr/>
            </a:lvl4pPr>
            <a:lvl5pPr>
              <a:spcBef>
                <a:spcPts val="40"/>
              </a:spcBef>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sl-SI" noProof="0" dirty="0"/>
          </a:p>
        </p:txBody>
      </p:sp>
      <p:sp>
        <p:nvSpPr>
          <p:cNvPr id="4" name="Slide Number Placeholder 3"/>
          <p:cNvSpPr>
            <a:spLocks noGrp="1"/>
          </p:cNvSpPr>
          <p:nvPr>
            <p:ph type="sldNum" sz="quarter" idx="4"/>
          </p:nvPr>
        </p:nvSpPr>
        <p:spPr>
          <a:xfrm>
            <a:off x="9936427" y="6648067"/>
            <a:ext cx="1632181" cy="182562"/>
          </a:xfrm>
          <a:prstGeom prst="rect">
            <a:avLst/>
          </a:prstGeom>
        </p:spPr>
        <p:txBody>
          <a:bodyPr vert="horz" lIns="91440" tIns="0" rIns="0" bIns="0" rtlCol="0" anchor="ctr" anchorCtr="0"/>
          <a:lstStyle>
            <a:lvl1pPr algn="r">
              <a:defRPr sz="1000">
                <a:solidFill>
                  <a:schemeClr val="tx2"/>
                </a:solidFill>
              </a:defRPr>
            </a:lvl1pPr>
          </a:lstStyle>
          <a:p>
            <a:fld id="{4E4FABFB-D960-4827-A99E-1FF56FC4539E}" type="slidenum">
              <a:rPr lang="sl-SI" noProof="0" smtClean="0"/>
              <a:pPr/>
              <a:t>‹#›</a:t>
            </a:fld>
            <a:endParaRPr lang="sl-SI" noProof="0" dirty="0"/>
          </a:p>
        </p:txBody>
      </p:sp>
    </p:spTree>
    <p:extLst>
      <p:ext uri="{BB962C8B-B14F-4D97-AF65-F5344CB8AC3E}">
        <p14:creationId xmlns:p14="http://schemas.microsoft.com/office/powerpoint/2010/main" val="37179223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levi vecji">
    <p:spTree>
      <p:nvGrpSpPr>
        <p:cNvPr id="1" name=""/>
        <p:cNvGrpSpPr/>
        <p:nvPr/>
      </p:nvGrpSpPr>
      <p:grpSpPr>
        <a:xfrm>
          <a:off x="0" y="0"/>
          <a:ext cx="0" cy="0"/>
          <a:chOff x="0" y="0"/>
          <a:chExt cx="0" cy="0"/>
        </a:xfrm>
      </p:grpSpPr>
      <p:sp>
        <p:nvSpPr>
          <p:cNvPr id="2" name="Title 1"/>
          <p:cNvSpPr>
            <a:spLocks noGrp="1"/>
          </p:cNvSpPr>
          <p:nvPr>
            <p:ph type="title"/>
          </p:nvPr>
        </p:nvSpPr>
        <p:spPr>
          <a:xfrm>
            <a:off x="529200" y="360000"/>
            <a:ext cx="11131200" cy="1368000"/>
          </a:xfrm>
        </p:spPr>
        <p:txBody>
          <a:bodyPr/>
          <a:lstStyle/>
          <a:p>
            <a:r>
              <a:rPr lang="en-US" noProof="0"/>
              <a:t>Click to edit Master title style</a:t>
            </a:r>
            <a:endParaRPr lang="sl-SI" noProof="0" dirty="0"/>
          </a:p>
        </p:txBody>
      </p:sp>
      <p:sp>
        <p:nvSpPr>
          <p:cNvPr id="3" name="Content Placeholder 2"/>
          <p:cNvSpPr>
            <a:spLocks noGrp="1"/>
          </p:cNvSpPr>
          <p:nvPr>
            <p:ph sz="half" idx="1"/>
          </p:nvPr>
        </p:nvSpPr>
        <p:spPr>
          <a:xfrm>
            <a:off x="642939" y="1980000"/>
            <a:ext cx="6579789" cy="3780000"/>
          </a:xfrm>
        </p:spPr>
        <p:txBody>
          <a:bodyPr>
            <a:noAutofit/>
          </a:bodyPr>
          <a:lstStyle>
            <a:lvl1pPr>
              <a:spcBef>
                <a:spcPts val="600"/>
              </a:spcBef>
              <a:defRPr sz="1800"/>
            </a:lvl1pPr>
            <a:lvl2pPr>
              <a:spcBef>
                <a:spcPts val="600"/>
              </a:spcBef>
              <a:defRPr sz="1600"/>
            </a:lvl2pPr>
            <a:lvl3pPr>
              <a:spcBef>
                <a:spcPts val="600"/>
              </a:spcBef>
              <a:defRPr sz="1400"/>
            </a:lvl3pPr>
            <a:lvl4pPr>
              <a:spcBef>
                <a:spcPts val="600"/>
              </a:spcBef>
              <a:defRPr sz="1200"/>
            </a:lvl4pPr>
            <a:lvl5pPr>
              <a:spcBef>
                <a:spcPts val="600"/>
              </a:spcBef>
              <a:defRPr sz="11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sl-SI" noProof="0" dirty="0"/>
          </a:p>
        </p:txBody>
      </p:sp>
      <p:sp>
        <p:nvSpPr>
          <p:cNvPr id="4" name="Content Placeholder 3"/>
          <p:cNvSpPr>
            <a:spLocks noGrp="1" noChangeAspect="1"/>
          </p:cNvSpPr>
          <p:nvPr>
            <p:ph sz="half" idx="2"/>
          </p:nvPr>
        </p:nvSpPr>
        <p:spPr>
          <a:xfrm>
            <a:off x="7617350" y="1980000"/>
            <a:ext cx="3905999" cy="3780000"/>
          </a:xfrm>
        </p:spPr>
        <p:txBody>
          <a:bodyPr>
            <a:noAutofit/>
          </a:bodyPr>
          <a:lstStyle>
            <a:lvl1pPr>
              <a:spcBef>
                <a:spcPts val="600"/>
              </a:spcBef>
              <a:defRPr sz="1800"/>
            </a:lvl1pPr>
            <a:lvl2pPr>
              <a:spcBef>
                <a:spcPts val="600"/>
              </a:spcBef>
              <a:defRPr sz="1600"/>
            </a:lvl2pPr>
            <a:lvl3pPr>
              <a:spcBef>
                <a:spcPts val="600"/>
              </a:spcBef>
              <a:defRPr sz="1400"/>
            </a:lvl3pPr>
            <a:lvl4pPr>
              <a:spcBef>
                <a:spcPts val="600"/>
              </a:spcBef>
              <a:defRPr sz="1200"/>
            </a:lvl4pPr>
            <a:lvl5pPr>
              <a:spcBef>
                <a:spcPts val="600"/>
              </a:spcBef>
              <a:defRPr sz="11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sl-SI" noProof="0" dirty="0"/>
          </a:p>
        </p:txBody>
      </p:sp>
      <p:sp>
        <p:nvSpPr>
          <p:cNvPr id="5" name="Slide Number Placeholder 3"/>
          <p:cNvSpPr>
            <a:spLocks noGrp="1"/>
          </p:cNvSpPr>
          <p:nvPr>
            <p:ph type="sldNum" sz="quarter" idx="4"/>
          </p:nvPr>
        </p:nvSpPr>
        <p:spPr>
          <a:xfrm>
            <a:off x="9936427" y="6648067"/>
            <a:ext cx="1632181" cy="182562"/>
          </a:xfrm>
          <a:prstGeom prst="rect">
            <a:avLst/>
          </a:prstGeom>
        </p:spPr>
        <p:txBody>
          <a:bodyPr vert="horz" lIns="91440" tIns="0" rIns="0" bIns="0" rtlCol="0" anchor="ctr" anchorCtr="0"/>
          <a:lstStyle>
            <a:lvl1pPr algn="r">
              <a:defRPr sz="1000">
                <a:solidFill>
                  <a:schemeClr val="tx2"/>
                </a:solidFill>
              </a:defRPr>
            </a:lvl1pPr>
          </a:lstStyle>
          <a:p>
            <a:fld id="{4E4FABFB-D960-4827-A99E-1FF56FC4539E}" type="slidenum">
              <a:rPr lang="sl-SI" noProof="0" smtClean="0"/>
              <a:pPr/>
              <a:t>‹#›</a:t>
            </a:fld>
            <a:endParaRPr lang="sl-SI" noProof="0" dirty="0"/>
          </a:p>
        </p:txBody>
      </p:sp>
    </p:spTree>
    <p:extLst>
      <p:ext uri="{BB962C8B-B14F-4D97-AF65-F5344CB8AC3E}">
        <p14:creationId xmlns:p14="http://schemas.microsoft.com/office/powerpoint/2010/main" val="22679526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sni vecji">
    <p:spTree>
      <p:nvGrpSpPr>
        <p:cNvPr id="1" name=""/>
        <p:cNvGrpSpPr/>
        <p:nvPr/>
      </p:nvGrpSpPr>
      <p:grpSpPr>
        <a:xfrm>
          <a:off x="0" y="0"/>
          <a:ext cx="0" cy="0"/>
          <a:chOff x="0" y="0"/>
          <a:chExt cx="0" cy="0"/>
        </a:xfrm>
      </p:grpSpPr>
      <p:sp>
        <p:nvSpPr>
          <p:cNvPr id="2" name="Title 1"/>
          <p:cNvSpPr>
            <a:spLocks noGrp="1"/>
          </p:cNvSpPr>
          <p:nvPr>
            <p:ph type="title"/>
          </p:nvPr>
        </p:nvSpPr>
        <p:spPr>
          <a:xfrm>
            <a:off x="529200" y="360000"/>
            <a:ext cx="11131200" cy="1368000"/>
          </a:xfrm>
        </p:spPr>
        <p:txBody>
          <a:bodyPr/>
          <a:lstStyle/>
          <a:p>
            <a:r>
              <a:rPr lang="en-US" noProof="0"/>
              <a:t>Click to edit Master title style</a:t>
            </a:r>
            <a:endParaRPr lang="sl-SI" noProof="0" dirty="0"/>
          </a:p>
        </p:txBody>
      </p:sp>
      <p:sp>
        <p:nvSpPr>
          <p:cNvPr id="3" name="Content Placeholder 2"/>
          <p:cNvSpPr>
            <a:spLocks noGrp="1"/>
          </p:cNvSpPr>
          <p:nvPr>
            <p:ph sz="half" idx="1"/>
          </p:nvPr>
        </p:nvSpPr>
        <p:spPr>
          <a:xfrm>
            <a:off x="4943872" y="1980000"/>
            <a:ext cx="6579789" cy="3780000"/>
          </a:xfrm>
        </p:spPr>
        <p:txBody>
          <a:bodyPr>
            <a:noAutofit/>
          </a:bodyPr>
          <a:lstStyle>
            <a:lvl1pPr>
              <a:spcBef>
                <a:spcPts val="600"/>
              </a:spcBef>
              <a:defRPr sz="1800"/>
            </a:lvl1pPr>
            <a:lvl2pPr>
              <a:spcBef>
                <a:spcPts val="600"/>
              </a:spcBef>
              <a:defRPr sz="1600"/>
            </a:lvl2pPr>
            <a:lvl3pPr>
              <a:spcBef>
                <a:spcPts val="600"/>
              </a:spcBef>
              <a:defRPr sz="1400"/>
            </a:lvl3pPr>
            <a:lvl4pPr>
              <a:spcBef>
                <a:spcPts val="600"/>
              </a:spcBef>
              <a:defRPr sz="1200"/>
            </a:lvl4pPr>
            <a:lvl5pPr>
              <a:spcBef>
                <a:spcPts val="600"/>
              </a:spcBef>
              <a:defRPr sz="11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sl-SI" noProof="0" dirty="0"/>
          </a:p>
        </p:txBody>
      </p:sp>
      <p:sp>
        <p:nvSpPr>
          <p:cNvPr id="4" name="Content Placeholder 3"/>
          <p:cNvSpPr>
            <a:spLocks noGrp="1"/>
          </p:cNvSpPr>
          <p:nvPr>
            <p:ph sz="half" idx="2"/>
          </p:nvPr>
        </p:nvSpPr>
        <p:spPr>
          <a:xfrm>
            <a:off x="650367" y="1980000"/>
            <a:ext cx="3906000" cy="3780000"/>
          </a:xfrm>
        </p:spPr>
        <p:txBody>
          <a:bodyPr>
            <a:noAutofit/>
          </a:bodyPr>
          <a:lstStyle>
            <a:lvl1pPr>
              <a:spcBef>
                <a:spcPts val="600"/>
              </a:spcBef>
              <a:defRPr sz="1800"/>
            </a:lvl1pPr>
            <a:lvl2pPr>
              <a:spcBef>
                <a:spcPts val="600"/>
              </a:spcBef>
              <a:defRPr sz="1600"/>
            </a:lvl2pPr>
            <a:lvl3pPr>
              <a:spcBef>
                <a:spcPts val="600"/>
              </a:spcBef>
              <a:defRPr sz="1400"/>
            </a:lvl3pPr>
            <a:lvl4pPr>
              <a:spcBef>
                <a:spcPts val="600"/>
              </a:spcBef>
              <a:defRPr sz="1200"/>
            </a:lvl4pPr>
            <a:lvl5pPr>
              <a:spcBef>
                <a:spcPts val="600"/>
              </a:spcBef>
              <a:defRPr sz="11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sl-SI" noProof="0" dirty="0"/>
          </a:p>
        </p:txBody>
      </p:sp>
      <p:sp>
        <p:nvSpPr>
          <p:cNvPr id="5" name="Slide Number Placeholder 3"/>
          <p:cNvSpPr>
            <a:spLocks noGrp="1"/>
          </p:cNvSpPr>
          <p:nvPr>
            <p:ph type="sldNum" sz="quarter" idx="4"/>
          </p:nvPr>
        </p:nvSpPr>
        <p:spPr>
          <a:xfrm>
            <a:off x="9936427" y="6648067"/>
            <a:ext cx="1632181" cy="182562"/>
          </a:xfrm>
          <a:prstGeom prst="rect">
            <a:avLst/>
          </a:prstGeom>
        </p:spPr>
        <p:txBody>
          <a:bodyPr vert="horz" lIns="91440" tIns="0" rIns="0" bIns="0" rtlCol="0" anchor="ctr" anchorCtr="0"/>
          <a:lstStyle>
            <a:lvl1pPr algn="r">
              <a:defRPr sz="1000">
                <a:solidFill>
                  <a:schemeClr val="tx2"/>
                </a:solidFill>
              </a:defRPr>
            </a:lvl1pPr>
          </a:lstStyle>
          <a:p>
            <a:fld id="{4E4FABFB-D960-4827-A99E-1FF56FC4539E}" type="slidenum">
              <a:rPr lang="sl-SI" noProof="0" smtClean="0"/>
              <a:pPr/>
              <a:t>‹#›</a:t>
            </a:fld>
            <a:endParaRPr lang="sl-SI" noProof="0" dirty="0"/>
          </a:p>
        </p:txBody>
      </p:sp>
    </p:spTree>
    <p:extLst>
      <p:ext uri="{BB962C8B-B14F-4D97-AF65-F5344CB8AC3E}">
        <p14:creationId xmlns:p14="http://schemas.microsoft.com/office/powerpoint/2010/main" val="9415216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ictures and Text">
    <p:spTree>
      <p:nvGrpSpPr>
        <p:cNvPr id="1" name=""/>
        <p:cNvGrpSpPr/>
        <p:nvPr/>
      </p:nvGrpSpPr>
      <p:grpSpPr>
        <a:xfrm>
          <a:off x="0" y="0"/>
          <a:ext cx="0" cy="0"/>
          <a:chOff x="0" y="0"/>
          <a:chExt cx="0" cy="0"/>
        </a:xfrm>
      </p:grpSpPr>
      <p:sp>
        <p:nvSpPr>
          <p:cNvPr id="2" name="Title 1"/>
          <p:cNvSpPr>
            <a:spLocks noGrp="1"/>
          </p:cNvSpPr>
          <p:nvPr>
            <p:ph type="title"/>
          </p:nvPr>
        </p:nvSpPr>
        <p:spPr>
          <a:xfrm>
            <a:off x="529200" y="360000"/>
            <a:ext cx="11131200" cy="1368000"/>
          </a:xfrm>
        </p:spPr>
        <p:txBody>
          <a:bodyPr/>
          <a:lstStyle>
            <a:lvl1pPr>
              <a:defRPr/>
            </a:lvl1pPr>
          </a:lstStyle>
          <a:p>
            <a:r>
              <a:rPr lang="en-US" noProof="0"/>
              <a:t>Click to edit Master title style</a:t>
            </a:r>
            <a:endParaRPr lang="sl-SI" noProof="0" dirty="0"/>
          </a:p>
        </p:txBody>
      </p:sp>
      <p:sp>
        <p:nvSpPr>
          <p:cNvPr id="3" name="Content Placeholder 2"/>
          <p:cNvSpPr>
            <a:spLocks noGrp="1"/>
          </p:cNvSpPr>
          <p:nvPr>
            <p:ph sz="half" idx="1"/>
          </p:nvPr>
        </p:nvSpPr>
        <p:spPr>
          <a:xfrm>
            <a:off x="650422" y="3276000"/>
            <a:ext cx="5220000" cy="2520000"/>
          </a:xfrm>
        </p:spPr>
        <p:txBody>
          <a:bodyPr wrap="square">
            <a:noAutofit/>
          </a:bodyPr>
          <a:lstStyle>
            <a:lvl1pPr>
              <a:spcBef>
                <a:spcPts val="600"/>
              </a:spcBef>
              <a:defRPr sz="1800"/>
            </a:lvl1pPr>
            <a:lvl2pPr>
              <a:spcBef>
                <a:spcPts val="600"/>
              </a:spcBef>
              <a:defRPr sz="1600"/>
            </a:lvl2pPr>
            <a:lvl3pPr>
              <a:spcBef>
                <a:spcPts val="600"/>
              </a:spcBef>
              <a:defRPr sz="1400"/>
            </a:lvl3pPr>
            <a:lvl4pPr>
              <a:spcBef>
                <a:spcPts val="600"/>
              </a:spcBef>
              <a:defRPr sz="1200"/>
            </a:lvl4pPr>
            <a:lvl5pPr>
              <a:spcBef>
                <a:spcPts val="600"/>
              </a:spcBef>
              <a:defRPr sz="11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sl-SI" noProof="0" dirty="0"/>
          </a:p>
        </p:txBody>
      </p:sp>
      <p:sp>
        <p:nvSpPr>
          <p:cNvPr id="4" name="Content Placeholder 3"/>
          <p:cNvSpPr>
            <a:spLocks noGrp="1"/>
          </p:cNvSpPr>
          <p:nvPr>
            <p:ph sz="half" idx="2"/>
          </p:nvPr>
        </p:nvSpPr>
        <p:spPr>
          <a:xfrm>
            <a:off x="6312834" y="3276000"/>
            <a:ext cx="5220000" cy="2520280"/>
          </a:xfrm>
        </p:spPr>
        <p:txBody>
          <a:bodyPr wrap="square">
            <a:noAutofit/>
          </a:bodyPr>
          <a:lstStyle>
            <a:lvl1pPr>
              <a:spcBef>
                <a:spcPts val="600"/>
              </a:spcBef>
              <a:defRPr sz="1800"/>
            </a:lvl1pPr>
            <a:lvl2pPr>
              <a:spcBef>
                <a:spcPts val="600"/>
              </a:spcBef>
              <a:defRPr sz="1600"/>
            </a:lvl2pPr>
            <a:lvl3pPr>
              <a:spcBef>
                <a:spcPts val="600"/>
              </a:spcBef>
              <a:defRPr sz="1400"/>
            </a:lvl3pPr>
            <a:lvl4pPr>
              <a:spcBef>
                <a:spcPts val="600"/>
              </a:spcBef>
              <a:defRPr sz="1200"/>
            </a:lvl4pPr>
            <a:lvl5pPr>
              <a:spcBef>
                <a:spcPts val="600"/>
              </a:spcBef>
              <a:defRPr sz="11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sl-SI" noProof="0" dirty="0"/>
          </a:p>
        </p:txBody>
      </p:sp>
      <p:sp>
        <p:nvSpPr>
          <p:cNvPr id="6" name="Picture Placeholder 5"/>
          <p:cNvSpPr>
            <a:spLocks noGrp="1"/>
          </p:cNvSpPr>
          <p:nvPr>
            <p:ph type="pic" sz="quarter" idx="10"/>
          </p:nvPr>
        </p:nvSpPr>
        <p:spPr>
          <a:xfrm>
            <a:off x="650422" y="1846943"/>
            <a:ext cx="1776000" cy="1332000"/>
          </a:xfrm>
        </p:spPr>
        <p:txBody>
          <a:bodyPr/>
          <a:lstStyle>
            <a:lvl1pPr marL="0" indent="0">
              <a:buNone/>
              <a:defRPr/>
            </a:lvl1pPr>
          </a:lstStyle>
          <a:p>
            <a:r>
              <a:rPr lang="en-US" noProof="0"/>
              <a:t>Click icon to add picture</a:t>
            </a:r>
            <a:endParaRPr lang="sl-SI" noProof="0" dirty="0"/>
          </a:p>
        </p:txBody>
      </p:sp>
      <p:sp>
        <p:nvSpPr>
          <p:cNvPr id="8" name="Picture Placeholder 5"/>
          <p:cNvSpPr>
            <a:spLocks noGrp="1"/>
          </p:cNvSpPr>
          <p:nvPr>
            <p:ph type="pic" sz="quarter" idx="11"/>
          </p:nvPr>
        </p:nvSpPr>
        <p:spPr>
          <a:xfrm>
            <a:off x="8819332" y="1846943"/>
            <a:ext cx="2713502" cy="1332000"/>
          </a:xfrm>
        </p:spPr>
        <p:txBody>
          <a:bodyPr/>
          <a:lstStyle>
            <a:lvl1pPr marL="0" indent="0">
              <a:buNone/>
              <a:defRPr/>
            </a:lvl1pPr>
          </a:lstStyle>
          <a:p>
            <a:r>
              <a:rPr lang="en-US" noProof="0"/>
              <a:t>Click icon to add picture</a:t>
            </a:r>
            <a:endParaRPr lang="sl-SI" noProof="0" dirty="0"/>
          </a:p>
        </p:txBody>
      </p:sp>
      <p:sp>
        <p:nvSpPr>
          <p:cNvPr id="9" name="Picture Placeholder 5"/>
          <p:cNvSpPr>
            <a:spLocks noGrp="1"/>
          </p:cNvSpPr>
          <p:nvPr>
            <p:ph type="pic" sz="quarter" idx="12"/>
          </p:nvPr>
        </p:nvSpPr>
        <p:spPr>
          <a:xfrm>
            <a:off x="2593896" y="1846943"/>
            <a:ext cx="1776000" cy="1332000"/>
          </a:xfrm>
        </p:spPr>
        <p:txBody>
          <a:bodyPr/>
          <a:lstStyle>
            <a:lvl1pPr marL="0" indent="0">
              <a:buNone/>
              <a:defRPr/>
            </a:lvl1pPr>
          </a:lstStyle>
          <a:p>
            <a:r>
              <a:rPr lang="en-US" noProof="0"/>
              <a:t>Click icon to add picture</a:t>
            </a:r>
            <a:endParaRPr lang="sl-SI" noProof="0" dirty="0"/>
          </a:p>
        </p:txBody>
      </p:sp>
      <p:sp>
        <p:nvSpPr>
          <p:cNvPr id="10" name="Picture Placeholder 5"/>
          <p:cNvSpPr>
            <a:spLocks noGrp="1"/>
          </p:cNvSpPr>
          <p:nvPr>
            <p:ph type="pic" sz="quarter" idx="13"/>
          </p:nvPr>
        </p:nvSpPr>
        <p:spPr>
          <a:xfrm>
            <a:off x="4537370" y="1846943"/>
            <a:ext cx="2171016" cy="1332000"/>
          </a:xfrm>
        </p:spPr>
        <p:txBody>
          <a:bodyPr/>
          <a:lstStyle>
            <a:lvl1pPr marL="0" indent="0">
              <a:buNone/>
              <a:defRPr/>
            </a:lvl1pPr>
          </a:lstStyle>
          <a:p>
            <a:r>
              <a:rPr lang="en-US" noProof="0"/>
              <a:t>Click icon to add picture</a:t>
            </a:r>
            <a:endParaRPr lang="sl-SI" noProof="0" dirty="0"/>
          </a:p>
        </p:txBody>
      </p:sp>
      <p:sp>
        <p:nvSpPr>
          <p:cNvPr id="11" name="Picture Placeholder 5"/>
          <p:cNvSpPr>
            <a:spLocks noGrp="1"/>
          </p:cNvSpPr>
          <p:nvPr>
            <p:ph type="pic" sz="quarter" idx="14"/>
          </p:nvPr>
        </p:nvSpPr>
        <p:spPr>
          <a:xfrm>
            <a:off x="6875860" y="1846943"/>
            <a:ext cx="1776000" cy="1332000"/>
          </a:xfrm>
        </p:spPr>
        <p:txBody>
          <a:bodyPr/>
          <a:lstStyle>
            <a:lvl1pPr marL="0" indent="0">
              <a:buNone/>
              <a:defRPr/>
            </a:lvl1pPr>
          </a:lstStyle>
          <a:p>
            <a:r>
              <a:rPr lang="en-US" noProof="0"/>
              <a:t>Click icon to add picture</a:t>
            </a:r>
            <a:endParaRPr lang="sl-SI" noProof="0" dirty="0"/>
          </a:p>
        </p:txBody>
      </p:sp>
      <p:sp>
        <p:nvSpPr>
          <p:cNvPr id="12" name="Slide Number Placeholder 3"/>
          <p:cNvSpPr>
            <a:spLocks noGrp="1"/>
          </p:cNvSpPr>
          <p:nvPr>
            <p:ph type="sldNum" sz="quarter" idx="4"/>
          </p:nvPr>
        </p:nvSpPr>
        <p:spPr>
          <a:xfrm>
            <a:off x="9936427" y="6648067"/>
            <a:ext cx="1632181" cy="182562"/>
          </a:xfrm>
          <a:prstGeom prst="rect">
            <a:avLst/>
          </a:prstGeom>
        </p:spPr>
        <p:txBody>
          <a:bodyPr vert="horz" lIns="91440" tIns="0" rIns="0" bIns="0" rtlCol="0" anchor="ctr" anchorCtr="0"/>
          <a:lstStyle>
            <a:lvl1pPr algn="r">
              <a:defRPr sz="1000">
                <a:solidFill>
                  <a:schemeClr val="tx2"/>
                </a:solidFill>
              </a:defRPr>
            </a:lvl1pPr>
          </a:lstStyle>
          <a:p>
            <a:fld id="{4E4FABFB-D960-4827-A99E-1FF56FC4539E}" type="slidenum">
              <a:rPr lang="sl-SI" noProof="0" smtClean="0"/>
              <a:pPr/>
              <a:t>‹#›</a:t>
            </a:fld>
            <a:endParaRPr lang="sl-SI" noProof="0" dirty="0"/>
          </a:p>
        </p:txBody>
      </p:sp>
    </p:spTree>
    <p:extLst>
      <p:ext uri="{BB962C8B-B14F-4D97-AF65-F5344CB8AC3E}">
        <p14:creationId xmlns:p14="http://schemas.microsoft.com/office/powerpoint/2010/main" val="16449183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1027" name="Picture 3" descr="E:\Work\NLB\Preza\popr2\Picture1-169.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noProof="0"/>
              <a:t>Click to edit Master title style</a:t>
            </a:r>
            <a:endParaRPr lang="sl-SI" noProof="0" dirty="0"/>
          </a:p>
        </p:txBody>
      </p:sp>
      <p:sp>
        <p:nvSpPr>
          <p:cNvPr id="3" name="Slide Number Placeholder 3"/>
          <p:cNvSpPr>
            <a:spLocks noGrp="1"/>
          </p:cNvSpPr>
          <p:nvPr>
            <p:ph type="sldNum" sz="quarter" idx="4"/>
          </p:nvPr>
        </p:nvSpPr>
        <p:spPr>
          <a:xfrm>
            <a:off x="9936427" y="6648067"/>
            <a:ext cx="1632181" cy="182562"/>
          </a:xfrm>
          <a:prstGeom prst="rect">
            <a:avLst/>
          </a:prstGeom>
        </p:spPr>
        <p:txBody>
          <a:bodyPr vert="horz" lIns="91440" tIns="0" rIns="0" bIns="0" rtlCol="0" anchor="ctr" anchorCtr="0"/>
          <a:lstStyle>
            <a:lvl1pPr algn="r">
              <a:defRPr sz="1000">
                <a:solidFill>
                  <a:schemeClr val="tx2"/>
                </a:solidFill>
              </a:defRPr>
            </a:lvl1pPr>
          </a:lstStyle>
          <a:p>
            <a:fld id="{4E4FABFB-D960-4827-A99E-1FF56FC4539E}" type="slidenum">
              <a:rPr lang="sl-SI" noProof="0" smtClean="0"/>
              <a:pPr/>
              <a:t>‹#›</a:t>
            </a:fld>
            <a:endParaRPr lang="sl-SI" noProof="0" dirty="0"/>
          </a:p>
        </p:txBody>
      </p:sp>
    </p:spTree>
    <p:extLst>
      <p:ext uri="{BB962C8B-B14F-4D97-AF65-F5344CB8AC3E}">
        <p14:creationId xmlns:p14="http://schemas.microsoft.com/office/powerpoint/2010/main" val="6551797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reak Slide">
    <p:spTree>
      <p:nvGrpSpPr>
        <p:cNvPr id="1" name=""/>
        <p:cNvGrpSpPr/>
        <p:nvPr/>
      </p:nvGrpSpPr>
      <p:grpSpPr>
        <a:xfrm>
          <a:off x="0" y="0"/>
          <a:ext cx="0" cy="0"/>
          <a:chOff x="0" y="0"/>
          <a:chExt cx="0" cy="0"/>
        </a:xfrm>
      </p:grpSpPr>
      <p:sp>
        <p:nvSpPr>
          <p:cNvPr id="4" name="Picture Placeholder 3"/>
          <p:cNvSpPr>
            <a:spLocks noGrp="1" noChangeAspect="1"/>
          </p:cNvSpPr>
          <p:nvPr>
            <p:ph type="pic" sz="quarter" idx="10" hasCustomPrompt="1"/>
          </p:nvPr>
        </p:nvSpPr>
        <p:spPr>
          <a:xfrm>
            <a:off x="5364621" y="0"/>
            <a:ext cx="6829921" cy="6609600"/>
          </a:xfrm>
        </p:spPr>
        <p:txBody>
          <a:bodyPr/>
          <a:lstStyle>
            <a:lvl1pPr marL="0" indent="0">
              <a:buNone/>
              <a:defRPr/>
            </a:lvl1pPr>
          </a:lstStyle>
          <a:p>
            <a:r>
              <a:rPr lang="sl-SI" noProof="0" dirty="0"/>
              <a:t>Picture</a:t>
            </a:r>
          </a:p>
        </p:txBody>
      </p:sp>
      <p:sp>
        <p:nvSpPr>
          <p:cNvPr id="2" name="Title 1"/>
          <p:cNvSpPr>
            <a:spLocks noGrp="1"/>
          </p:cNvSpPr>
          <p:nvPr>
            <p:ph type="title"/>
          </p:nvPr>
        </p:nvSpPr>
        <p:spPr>
          <a:xfrm>
            <a:off x="532303" y="876002"/>
            <a:ext cx="4429072" cy="4838998"/>
          </a:xfrm>
          <a:noFill/>
        </p:spPr>
        <p:txBody>
          <a:bodyPr wrap="square" anchor="ctr" anchorCtr="0">
            <a:noAutofit/>
          </a:bodyPr>
          <a:lstStyle/>
          <a:p>
            <a:r>
              <a:rPr lang="en-US" noProof="0"/>
              <a:t>Click to edit Master title style</a:t>
            </a:r>
            <a:endParaRPr lang="sl-SI" noProof="0" dirty="0"/>
          </a:p>
        </p:txBody>
      </p:sp>
      <p:sp>
        <p:nvSpPr>
          <p:cNvPr id="5" name="Slide Number Placeholder 3"/>
          <p:cNvSpPr>
            <a:spLocks noGrp="1"/>
          </p:cNvSpPr>
          <p:nvPr>
            <p:ph type="sldNum" sz="quarter" idx="4"/>
          </p:nvPr>
        </p:nvSpPr>
        <p:spPr>
          <a:xfrm>
            <a:off x="9936427" y="6648067"/>
            <a:ext cx="1632181" cy="182562"/>
          </a:xfrm>
          <a:prstGeom prst="rect">
            <a:avLst/>
          </a:prstGeom>
        </p:spPr>
        <p:txBody>
          <a:bodyPr vert="horz" lIns="91440" tIns="0" rIns="0" bIns="0" rtlCol="0" anchor="ctr" anchorCtr="0"/>
          <a:lstStyle>
            <a:lvl1pPr algn="r">
              <a:defRPr sz="1000">
                <a:solidFill>
                  <a:schemeClr val="tx2"/>
                </a:solidFill>
              </a:defRPr>
            </a:lvl1pPr>
          </a:lstStyle>
          <a:p>
            <a:fld id="{4E4FABFB-D960-4827-A99E-1FF56FC4539E}" type="slidenum">
              <a:rPr lang="sl-SI" noProof="0" smtClean="0"/>
              <a:pPr/>
              <a:t>‹#›</a:t>
            </a:fld>
            <a:endParaRPr lang="sl-SI" noProof="0" dirty="0"/>
          </a:p>
        </p:txBody>
      </p:sp>
    </p:spTree>
    <p:extLst>
      <p:ext uri="{BB962C8B-B14F-4D97-AF65-F5344CB8AC3E}">
        <p14:creationId xmlns:p14="http://schemas.microsoft.com/office/powerpoint/2010/main" val="7991997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5" name="Text Placeholder 42"/>
          <p:cNvSpPr>
            <a:spLocks noGrp="1"/>
          </p:cNvSpPr>
          <p:nvPr>
            <p:ph type="body" sz="quarter" idx="12" hasCustomPrompt="1"/>
          </p:nvPr>
        </p:nvSpPr>
        <p:spPr>
          <a:xfrm>
            <a:off x="646646" y="5529912"/>
            <a:ext cx="10080000" cy="360363"/>
          </a:xfrm>
        </p:spPr>
        <p:txBody>
          <a:bodyPr wrap="none">
            <a:noAutofit/>
          </a:bodyPr>
          <a:lstStyle>
            <a:lvl1pPr marL="0" indent="0">
              <a:buNone/>
              <a:defRPr sz="1600"/>
            </a:lvl1pPr>
          </a:lstStyle>
          <a:p>
            <a:pPr lvl="0"/>
            <a:r>
              <a:rPr lang="sl-SI" noProof="0" dirty="0" err="1"/>
              <a:t>Click</a:t>
            </a:r>
            <a:r>
              <a:rPr lang="sl-SI" noProof="0" dirty="0"/>
              <a:t> to </a:t>
            </a:r>
            <a:r>
              <a:rPr lang="sl-SI" noProof="0" dirty="0" err="1"/>
              <a:t>add</a:t>
            </a:r>
            <a:r>
              <a:rPr lang="sl-SI" noProof="0" dirty="0"/>
              <a:t> agenda </a:t>
            </a:r>
            <a:r>
              <a:rPr lang="sl-SI" noProof="0" dirty="0" err="1"/>
              <a:t>item</a:t>
            </a:r>
            <a:endParaRPr lang="sl-SI" noProof="0" dirty="0"/>
          </a:p>
        </p:txBody>
      </p:sp>
      <p:sp>
        <p:nvSpPr>
          <p:cNvPr id="43" name="Text Placeholder 42"/>
          <p:cNvSpPr>
            <a:spLocks noGrp="1"/>
          </p:cNvSpPr>
          <p:nvPr>
            <p:ph type="body" sz="quarter" idx="10" hasCustomPrompt="1"/>
          </p:nvPr>
        </p:nvSpPr>
        <p:spPr>
          <a:xfrm>
            <a:off x="646646" y="1340769"/>
            <a:ext cx="10080000" cy="360363"/>
          </a:xfrm>
        </p:spPr>
        <p:txBody>
          <a:bodyPr wrap="none">
            <a:noAutofit/>
          </a:bodyPr>
          <a:lstStyle>
            <a:lvl1pPr marL="0" indent="0">
              <a:buNone/>
              <a:defRPr sz="1600"/>
            </a:lvl1pPr>
          </a:lstStyle>
          <a:p>
            <a:pPr lvl="0"/>
            <a:r>
              <a:rPr lang="sl-SI" noProof="0" dirty="0" err="1"/>
              <a:t>Click</a:t>
            </a:r>
            <a:r>
              <a:rPr lang="sl-SI" noProof="0" dirty="0"/>
              <a:t> to </a:t>
            </a:r>
            <a:r>
              <a:rPr lang="sl-SI" noProof="0" dirty="0" err="1"/>
              <a:t>add</a:t>
            </a:r>
            <a:r>
              <a:rPr lang="sl-SI" noProof="0" dirty="0"/>
              <a:t> agenda </a:t>
            </a:r>
            <a:r>
              <a:rPr lang="sl-SI" noProof="0" dirty="0" err="1"/>
              <a:t>item</a:t>
            </a:r>
            <a:endParaRPr lang="sl-SI" noProof="0" dirty="0"/>
          </a:p>
        </p:txBody>
      </p:sp>
      <p:sp>
        <p:nvSpPr>
          <p:cNvPr id="2" name="Title 1"/>
          <p:cNvSpPr>
            <a:spLocks noGrp="1"/>
          </p:cNvSpPr>
          <p:nvPr>
            <p:ph type="title" hasCustomPrompt="1"/>
          </p:nvPr>
        </p:nvSpPr>
        <p:spPr>
          <a:xfrm>
            <a:off x="529200" y="360000"/>
            <a:ext cx="11131200" cy="748508"/>
          </a:xfrm>
        </p:spPr>
        <p:txBody>
          <a:bodyPr/>
          <a:lstStyle>
            <a:lvl1pPr>
              <a:defRPr/>
            </a:lvl1pPr>
          </a:lstStyle>
          <a:p>
            <a:r>
              <a:rPr lang="sl-SI" noProof="0" dirty="0"/>
              <a:t>Agenda</a:t>
            </a:r>
          </a:p>
        </p:txBody>
      </p:sp>
      <p:sp>
        <p:nvSpPr>
          <p:cNvPr id="44" name="Text Placeholder 42"/>
          <p:cNvSpPr>
            <a:spLocks noGrp="1"/>
          </p:cNvSpPr>
          <p:nvPr>
            <p:ph type="body" sz="quarter" idx="11" hasCustomPrompt="1"/>
          </p:nvPr>
        </p:nvSpPr>
        <p:spPr>
          <a:xfrm>
            <a:off x="646646" y="1759682"/>
            <a:ext cx="10080000" cy="360363"/>
          </a:xfrm>
        </p:spPr>
        <p:txBody>
          <a:bodyPr wrap="none">
            <a:noAutofit/>
          </a:bodyPr>
          <a:lstStyle>
            <a:lvl1pPr marL="0" indent="0">
              <a:buNone/>
              <a:defRPr sz="1600"/>
            </a:lvl1pPr>
          </a:lstStyle>
          <a:p>
            <a:pPr lvl="0"/>
            <a:r>
              <a:rPr lang="sl-SI" noProof="0" dirty="0" err="1"/>
              <a:t>Click</a:t>
            </a:r>
            <a:r>
              <a:rPr lang="sl-SI" noProof="0" dirty="0"/>
              <a:t> to </a:t>
            </a:r>
            <a:r>
              <a:rPr lang="sl-SI" noProof="0" dirty="0" err="1"/>
              <a:t>add</a:t>
            </a:r>
            <a:r>
              <a:rPr lang="sl-SI" noProof="0" dirty="0"/>
              <a:t> agenda </a:t>
            </a:r>
            <a:r>
              <a:rPr lang="sl-SI" noProof="0" dirty="0" err="1"/>
              <a:t>item</a:t>
            </a:r>
            <a:endParaRPr lang="sl-SI" noProof="0" dirty="0"/>
          </a:p>
        </p:txBody>
      </p:sp>
      <p:sp>
        <p:nvSpPr>
          <p:cNvPr id="46" name="Text Placeholder 42"/>
          <p:cNvSpPr>
            <a:spLocks noGrp="1"/>
          </p:cNvSpPr>
          <p:nvPr>
            <p:ph type="body" sz="quarter" idx="13" hasCustomPrompt="1"/>
          </p:nvPr>
        </p:nvSpPr>
        <p:spPr>
          <a:xfrm>
            <a:off x="646646" y="2178597"/>
            <a:ext cx="10080000" cy="360363"/>
          </a:xfrm>
        </p:spPr>
        <p:txBody>
          <a:bodyPr wrap="none">
            <a:noAutofit/>
          </a:bodyPr>
          <a:lstStyle>
            <a:lvl1pPr marL="0" indent="0">
              <a:buNone/>
              <a:defRPr sz="1600"/>
            </a:lvl1pPr>
          </a:lstStyle>
          <a:p>
            <a:pPr lvl="0"/>
            <a:r>
              <a:rPr lang="sl-SI" noProof="0" dirty="0" err="1"/>
              <a:t>Click</a:t>
            </a:r>
            <a:r>
              <a:rPr lang="sl-SI" noProof="0" dirty="0"/>
              <a:t> to </a:t>
            </a:r>
            <a:r>
              <a:rPr lang="sl-SI" noProof="0" dirty="0" err="1"/>
              <a:t>add</a:t>
            </a:r>
            <a:r>
              <a:rPr lang="sl-SI" noProof="0" dirty="0"/>
              <a:t> agenda </a:t>
            </a:r>
            <a:r>
              <a:rPr lang="sl-SI" noProof="0" dirty="0" err="1"/>
              <a:t>item</a:t>
            </a:r>
            <a:endParaRPr lang="sl-SI" noProof="0" dirty="0"/>
          </a:p>
        </p:txBody>
      </p:sp>
      <p:sp>
        <p:nvSpPr>
          <p:cNvPr id="47" name="Text Placeholder 42"/>
          <p:cNvSpPr>
            <a:spLocks noGrp="1"/>
          </p:cNvSpPr>
          <p:nvPr>
            <p:ph type="body" sz="quarter" idx="14" hasCustomPrompt="1"/>
          </p:nvPr>
        </p:nvSpPr>
        <p:spPr>
          <a:xfrm>
            <a:off x="646646" y="2597511"/>
            <a:ext cx="10080000" cy="360363"/>
          </a:xfrm>
        </p:spPr>
        <p:txBody>
          <a:bodyPr wrap="none">
            <a:noAutofit/>
          </a:bodyPr>
          <a:lstStyle>
            <a:lvl1pPr marL="0" indent="0">
              <a:buNone/>
              <a:defRPr sz="1600"/>
            </a:lvl1pPr>
          </a:lstStyle>
          <a:p>
            <a:pPr lvl="0"/>
            <a:r>
              <a:rPr lang="sl-SI" noProof="0" dirty="0" err="1"/>
              <a:t>Click</a:t>
            </a:r>
            <a:r>
              <a:rPr lang="sl-SI" noProof="0" dirty="0"/>
              <a:t> to </a:t>
            </a:r>
            <a:r>
              <a:rPr lang="sl-SI" noProof="0" dirty="0" err="1"/>
              <a:t>add</a:t>
            </a:r>
            <a:r>
              <a:rPr lang="sl-SI" noProof="0" dirty="0"/>
              <a:t> agenda </a:t>
            </a:r>
            <a:r>
              <a:rPr lang="sl-SI" noProof="0" dirty="0" err="1"/>
              <a:t>item</a:t>
            </a:r>
            <a:endParaRPr lang="sl-SI" noProof="0" dirty="0"/>
          </a:p>
        </p:txBody>
      </p:sp>
      <p:sp>
        <p:nvSpPr>
          <p:cNvPr id="48" name="Text Placeholder 42"/>
          <p:cNvSpPr>
            <a:spLocks noGrp="1"/>
          </p:cNvSpPr>
          <p:nvPr>
            <p:ph type="body" sz="quarter" idx="15" hasCustomPrompt="1"/>
          </p:nvPr>
        </p:nvSpPr>
        <p:spPr>
          <a:xfrm>
            <a:off x="646646" y="3016425"/>
            <a:ext cx="10080000" cy="360363"/>
          </a:xfrm>
        </p:spPr>
        <p:txBody>
          <a:bodyPr wrap="none">
            <a:noAutofit/>
          </a:bodyPr>
          <a:lstStyle>
            <a:lvl1pPr marL="0" indent="0">
              <a:buNone/>
              <a:defRPr sz="1600"/>
            </a:lvl1pPr>
          </a:lstStyle>
          <a:p>
            <a:pPr lvl="0"/>
            <a:r>
              <a:rPr lang="sl-SI" noProof="0" dirty="0" err="1"/>
              <a:t>Click</a:t>
            </a:r>
            <a:r>
              <a:rPr lang="sl-SI" noProof="0" dirty="0"/>
              <a:t> to </a:t>
            </a:r>
            <a:r>
              <a:rPr lang="sl-SI" noProof="0" dirty="0" err="1"/>
              <a:t>add</a:t>
            </a:r>
            <a:r>
              <a:rPr lang="sl-SI" noProof="0" dirty="0"/>
              <a:t> agenda </a:t>
            </a:r>
            <a:r>
              <a:rPr lang="sl-SI" noProof="0" dirty="0" err="1"/>
              <a:t>item</a:t>
            </a:r>
            <a:endParaRPr lang="sl-SI" noProof="0" dirty="0"/>
          </a:p>
        </p:txBody>
      </p:sp>
      <p:sp>
        <p:nvSpPr>
          <p:cNvPr id="49" name="Text Placeholder 42"/>
          <p:cNvSpPr>
            <a:spLocks noGrp="1"/>
          </p:cNvSpPr>
          <p:nvPr>
            <p:ph type="body" sz="quarter" idx="16" hasCustomPrompt="1"/>
          </p:nvPr>
        </p:nvSpPr>
        <p:spPr>
          <a:xfrm>
            <a:off x="646646" y="3435338"/>
            <a:ext cx="10080000" cy="360363"/>
          </a:xfrm>
        </p:spPr>
        <p:txBody>
          <a:bodyPr wrap="none">
            <a:noAutofit/>
          </a:bodyPr>
          <a:lstStyle>
            <a:lvl1pPr marL="0" indent="0">
              <a:buNone/>
              <a:defRPr sz="1600"/>
            </a:lvl1pPr>
          </a:lstStyle>
          <a:p>
            <a:pPr lvl="0"/>
            <a:r>
              <a:rPr lang="sl-SI" noProof="0" dirty="0" err="1"/>
              <a:t>Click</a:t>
            </a:r>
            <a:r>
              <a:rPr lang="sl-SI" noProof="0" dirty="0"/>
              <a:t> to </a:t>
            </a:r>
            <a:r>
              <a:rPr lang="sl-SI" noProof="0" dirty="0" err="1"/>
              <a:t>add</a:t>
            </a:r>
            <a:r>
              <a:rPr lang="sl-SI" noProof="0" dirty="0"/>
              <a:t> agenda </a:t>
            </a:r>
            <a:r>
              <a:rPr lang="sl-SI" noProof="0" dirty="0" err="1"/>
              <a:t>item</a:t>
            </a:r>
            <a:endParaRPr lang="sl-SI" noProof="0" dirty="0"/>
          </a:p>
        </p:txBody>
      </p:sp>
      <p:sp>
        <p:nvSpPr>
          <p:cNvPr id="50" name="Text Placeholder 42"/>
          <p:cNvSpPr>
            <a:spLocks noGrp="1"/>
          </p:cNvSpPr>
          <p:nvPr>
            <p:ph type="body" sz="quarter" idx="17" hasCustomPrompt="1"/>
          </p:nvPr>
        </p:nvSpPr>
        <p:spPr>
          <a:xfrm>
            <a:off x="646646" y="3854252"/>
            <a:ext cx="10080000" cy="360363"/>
          </a:xfrm>
        </p:spPr>
        <p:txBody>
          <a:bodyPr wrap="none">
            <a:noAutofit/>
          </a:bodyPr>
          <a:lstStyle>
            <a:lvl1pPr marL="0" indent="0">
              <a:buNone/>
              <a:defRPr sz="1600"/>
            </a:lvl1pPr>
          </a:lstStyle>
          <a:p>
            <a:pPr lvl="0"/>
            <a:r>
              <a:rPr lang="sl-SI" noProof="0" dirty="0" err="1"/>
              <a:t>Click</a:t>
            </a:r>
            <a:r>
              <a:rPr lang="sl-SI" noProof="0" dirty="0"/>
              <a:t> to </a:t>
            </a:r>
            <a:r>
              <a:rPr lang="sl-SI" noProof="0" dirty="0" err="1"/>
              <a:t>add</a:t>
            </a:r>
            <a:r>
              <a:rPr lang="sl-SI" noProof="0" dirty="0"/>
              <a:t> agenda </a:t>
            </a:r>
            <a:r>
              <a:rPr lang="sl-SI" noProof="0" dirty="0" err="1"/>
              <a:t>item</a:t>
            </a:r>
            <a:endParaRPr lang="sl-SI" noProof="0" dirty="0"/>
          </a:p>
        </p:txBody>
      </p:sp>
      <p:sp>
        <p:nvSpPr>
          <p:cNvPr id="51" name="Text Placeholder 42"/>
          <p:cNvSpPr>
            <a:spLocks noGrp="1"/>
          </p:cNvSpPr>
          <p:nvPr>
            <p:ph type="body" sz="quarter" idx="18" hasCustomPrompt="1"/>
          </p:nvPr>
        </p:nvSpPr>
        <p:spPr>
          <a:xfrm>
            <a:off x="646646" y="4273167"/>
            <a:ext cx="10080000" cy="360363"/>
          </a:xfrm>
        </p:spPr>
        <p:txBody>
          <a:bodyPr wrap="none">
            <a:noAutofit/>
          </a:bodyPr>
          <a:lstStyle>
            <a:lvl1pPr marL="0" indent="0">
              <a:buNone/>
              <a:defRPr sz="1600"/>
            </a:lvl1pPr>
          </a:lstStyle>
          <a:p>
            <a:pPr lvl="0"/>
            <a:r>
              <a:rPr lang="sl-SI" noProof="0" dirty="0" err="1"/>
              <a:t>Click</a:t>
            </a:r>
            <a:r>
              <a:rPr lang="sl-SI" noProof="0" dirty="0"/>
              <a:t> to </a:t>
            </a:r>
            <a:r>
              <a:rPr lang="sl-SI" noProof="0" dirty="0" err="1"/>
              <a:t>add</a:t>
            </a:r>
            <a:r>
              <a:rPr lang="sl-SI" noProof="0" dirty="0"/>
              <a:t> agenda </a:t>
            </a:r>
            <a:r>
              <a:rPr lang="sl-SI" noProof="0" dirty="0" err="1"/>
              <a:t>item</a:t>
            </a:r>
            <a:endParaRPr lang="sl-SI" noProof="0" dirty="0"/>
          </a:p>
        </p:txBody>
      </p:sp>
      <p:sp>
        <p:nvSpPr>
          <p:cNvPr id="52" name="Text Placeholder 42"/>
          <p:cNvSpPr>
            <a:spLocks noGrp="1"/>
          </p:cNvSpPr>
          <p:nvPr>
            <p:ph type="body" sz="quarter" idx="19" hasCustomPrompt="1"/>
          </p:nvPr>
        </p:nvSpPr>
        <p:spPr>
          <a:xfrm>
            <a:off x="646646" y="4692081"/>
            <a:ext cx="10080000" cy="360363"/>
          </a:xfrm>
        </p:spPr>
        <p:txBody>
          <a:bodyPr wrap="none">
            <a:noAutofit/>
          </a:bodyPr>
          <a:lstStyle>
            <a:lvl1pPr marL="0" indent="0">
              <a:buNone/>
              <a:defRPr sz="1600"/>
            </a:lvl1pPr>
          </a:lstStyle>
          <a:p>
            <a:pPr lvl="0"/>
            <a:r>
              <a:rPr lang="sl-SI" noProof="0" dirty="0" err="1"/>
              <a:t>Click</a:t>
            </a:r>
            <a:r>
              <a:rPr lang="sl-SI" noProof="0" dirty="0"/>
              <a:t> to </a:t>
            </a:r>
            <a:r>
              <a:rPr lang="sl-SI" noProof="0" dirty="0" err="1"/>
              <a:t>add</a:t>
            </a:r>
            <a:r>
              <a:rPr lang="sl-SI" noProof="0" dirty="0"/>
              <a:t> agenda </a:t>
            </a:r>
            <a:r>
              <a:rPr lang="sl-SI" noProof="0" dirty="0" err="1"/>
              <a:t>item</a:t>
            </a:r>
            <a:endParaRPr lang="sl-SI" noProof="0" dirty="0"/>
          </a:p>
        </p:txBody>
      </p:sp>
      <p:sp>
        <p:nvSpPr>
          <p:cNvPr id="53" name="Text Placeholder 42"/>
          <p:cNvSpPr>
            <a:spLocks noGrp="1"/>
          </p:cNvSpPr>
          <p:nvPr>
            <p:ph type="body" sz="quarter" idx="20" hasCustomPrompt="1"/>
          </p:nvPr>
        </p:nvSpPr>
        <p:spPr>
          <a:xfrm>
            <a:off x="646646" y="5110995"/>
            <a:ext cx="10080000" cy="360363"/>
          </a:xfrm>
        </p:spPr>
        <p:txBody>
          <a:bodyPr wrap="none">
            <a:noAutofit/>
          </a:bodyPr>
          <a:lstStyle>
            <a:lvl1pPr marL="0" indent="0">
              <a:buNone/>
              <a:defRPr sz="1600"/>
            </a:lvl1pPr>
          </a:lstStyle>
          <a:p>
            <a:pPr lvl="0"/>
            <a:r>
              <a:rPr lang="sl-SI" noProof="0" dirty="0" err="1"/>
              <a:t>Click</a:t>
            </a:r>
            <a:r>
              <a:rPr lang="sl-SI" noProof="0" dirty="0"/>
              <a:t> to </a:t>
            </a:r>
            <a:r>
              <a:rPr lang="sl-SI" noProof="0" dirty="0" err="1"/>
              <a:t>add</a:t>
            </a:r>
            <a:r>
              <a:rPr lang="sl-SI" noProof="0" dirty="0"/>
              <a:t> agenda </a:t>
            </a:r>
            <a:r>
              <a:rPr lang="sl-SI" noProof="0" dirty="0" err="1"/>
              <a:t>item</a:t>
            </a:r>
            <a:endParaRPr lang="sl-SI" noProof="0" dirty="0"/>
          </a:p>
        </p:txBody>
      </p:sp>
      <p:sp>
        <p:nvSpPr>
          <p:cNvPr id="54" name="Text Placeholder 42"/>
          <p:cNvSpPr>
            <a:spLocks noGrp="1"/>
          </p:cNvSpPr>
          <p:nvPr>
            <p:ph type="body" sz="quarter" idx="21" hasCustomPrompt="1"/>
          </p:nvPr>
        </p:nvSpPr>
        <p:spPr>
          <a:xfrm>
            <a:off x="10579766" y="1340769"/>
            <a:ext cx="960000" cy="360363"/>
          </a:xfrm>
        </p:spPr>
        <p:txBody>
          <a:bodyPr wrap="none">
            <a:noAutofit/>
          </a:bodyPr>
          <a:lstStyle>
            <a:lvl1pPr marL="0" indent="0" algn="r">
              <a:buNone/>
              <a:defRPr sz="1600" b="1">
                <a:solidFill>
                  <a:schemeClr val="bg2"/>
                </a:solidFill>
              </a:defRPr>
            </a:lvl1pPr>
          </a:lstStyle>
          <a:p>
            <a:pPr lvl="0"/>
            <a:r>
              <a:rPr lang="sl-SI" noProof="0" dirty="0" err="1"/>
              <a:t>page</a:t>
            </a:r>
            <a:endParaRPr lang="sl-SI" noProof="0" dirty="0"/>
          </a:p>
        </p:txBody>
      </p:sp>
      <p:sp>
        <p:nvSpPr>
          <p:cNvPr id="55" name="Text Placeholder 42"/>
          <p:cNvSpPr>
            <a:spLocks noGrp="1"/>
          </p:cNvSpPr>
          <p:nvPr>
            <p:ph type="body" sz="quarter" idx="22" hasCustomPrompt="1"/>
          </p:nvPr>
        </p:nvSpPr>
        <p:spPr>
          <a:xfrm>
            <a:off x="10579766" y="1759682"/>
            <a:ext cx="960000" cy="360363"/>
          </a:xfrm>
        </p:spPr>
        <p:txBody>
          <a:bodyPr wrap="none">
            <a:noAutofit/>
          </a:bodyPr>
          <a:lstStyle>
            <a:lvl1pPr marL="0" indent="0" algn="r">
              <a:buNone/>
              <a:defRPr sz="1600" b="1">
                <a:solidFill>
                  <a:schemeClr val="bg2"/>
                </a:solidFill>
              </a:defRPr>
            </a:lvl1pPr>
          </a:lstStyle>
          <a:p>
            <a:pPr lvl="0"/>
            <a:r>
              <a:rPr lang="sl-SI" noProof="0" dirty="0" err="1"/>
              <a:t>page</a:t>
            </a:r>
            <a:endParaRPr lang="sl-SI" noProof="0" dirty="0"/>
          </a:p>
        </p:txBody>
      </p:sp>
      <p:sp>
        <p:nvSpPr>
          <p:cNvPr id="56" name="Text Placeholder 42"/>
          <p:cNvSpPr>
            <a:spLocks noGrp="1"/>
          </p:cNvSpPr>
          <p:nvPr>
            <p:ph type="body" sz="quarter" idx="23" hasCustomPrompt="1"/>
          </p:nvPr>
        </p:nvSpPr>
        <p:spPr>
          <a:xfrm>
            <a:off x="10579766" y="2178597"/>
            <a:ext cx="960000" cy="360363"/>
          </a:xfrm>
        </p:spPr>
        <p:txBody>
          <a:bodyPr wrap="none">
            <a:noAutofit/>
          </a:bodyPr>
          <a:lstStyle>
            <a:lvl1pPr marL="0" indent="0" algn="r">
              <a:buNone/>
              <a:defRPr sz="1600" b="1">
                <a:solidFill>
                  <a:schemeClr val="bg2"/>
                </a:solidFill>
              </a:defRPr>
            </a:lvl1pPr>
          </a:lstStyle>
          <a:p>
            <a:pPr lvl="0"/>
            <a:r>
              <a:rPr lang="sl-SI" noProof="0" dirty="0" err="1"/>
              <a:t>page</a:t>
            </a:r>
            <a:endParaRPr lang="sl-SI" noProof="0" dirty="0"/>
          </a:p>
        </p:txBody>
      </p:sp>
      <p:sp>
        <p:nvSpPr>
          <p:cNvPr id="57" name="Text Placeholder 42"/>
          <p:cNvSpPr>
            <a:spLocks noGrp="1"/>
          </p:cNvSpPr>
          <p:nvPr>
            <p:ph type="body" sz="quarter" idx="24" hasCustomPrompt="1"/>
          </p:nvPr>
        </p:nvSpPr>
        <p:spPr>
          <a:xfrm>
            <a:off x="10579766" y="2597511"/>
            <a:ext cx="960000" cy="360363"/>
          </a:xfrm>
        </p:spPr>
        <p:txBody>
          <a:bodyPr wrap="none">
            <a:noAutofit/>
          </a:bodyPr>
          <a:lstStyle>
            <a:lvl1pPr marL="0" indent="0" algn="r">
              <a:buNone/>
              <a:defRPr sz="1600" b="1">
                <a:solidFill>
                  <a:schemeClr val="bg2"/>
                </a:solidFill>
              </a:defRPr>
            </a:lvl1pPr>
          </a:lstStyle>
          <a:p>
            <a:pPr lvl="0"/>
            <a:r>
              <a:rPr lang="sl-SI" noProof="0" dirty="0" err="1"/>
              <a:t>page</a:t>
            </a:r>
            <a:endParaRPr lang="sl-SI" noProof="0" dirty="0"/>
          </a:p>
        </p:txBody>
      </p:sp>
      <p:sp>
        <p:nvSpPr>
          <p:cNvPr id="58" name="Text Placeholder 42"/>
          <p:cNvSpPr>
            <a:spLocks noGrp="1"/>
          </p:cNvSpPr>
          <p:nvPr>
            <p:ph type="body" sz="quarter" idx="25" hasCustomPrompt="1"/>
          </p:nvPr>
        </p:nvSpPr>
        <p:spPr>
          <a:xfrm>
            <a:off x="10579766" y="3016425"/>
            <a:ext cx="960000" cy="360363"/>
          </a:xfrm>
        </p:spPr>
        <p:txBody>
          <a:bodyPr wrap="none">
            <a:noAutofit/>
          </a:bodyPr>
          <a:lstStyle>
            <a:lvl1pPr marL="0" indent="0" algn="r">
              <a:buNone/>
              <a:defRPr sz="1600" b="1">
                <a:solidFill>
                  <a:schemeClr val="bg2"/>
                </a:solidFill>
              </a:defRPr>
            </a:lvl1pPr>
          </a:lstStyle>
          <a:p>
            <a:pPr lvl="0"/>
            <a:r>
              <a:rPr lang="sl-SI" noProof="0" dirty="0" err="1"/>
              <a:t>page</a:t>
            </a:r>
            <a:endParaRPr lang="sl-SI" noProof="0" dirty="0"/>
          </a:p>
        </p:txBody>
      </p:sp>
      <p:sp>
        <p:nvSpPr>
          <p:cNvPr id="59" name="Text Placeholder 42"/>
          <p:cNvSpPr>
            <a:spLocks noGrp="1"/>
          </p:cNvSpPr>
          <p:nvPr>
            <p:ph type="body" sz="quarter" idx="26" hasCustomPrompt="1"/>
          </p:nvPr>
        </p:nvSpPr>
        <p:spPr>
          <a:xfrm>
            <a:off x="10579766" y="3435338"/>
            <a:ext cx="960000" cy="360363"/>
          </a:xfrm>
        </p:spPr>
        <p:txBody>
          <a:bodyPr wrap="none">
            <a:noAutofit/>
          </a:bodyPr>
          <a:lstStyle>
            <a:lvl1pPr marL="0" indent="0" algn="r">
              <a:buNone/>
              <a:defRPr sz="1600" b="1">
                <a:solidFill>
                  <a:schemeClr val="bg2"/>
                </a:solidFill>
              </a:defRPr>
            </a:lvl1pPr>
          </a:lstStyle>
          <a:p>
            <a:pPr lvl="0"/>
            <a:r>
              <a:rPr lang="sl-SI" noProof="0" dirty="0" err="1"/>
              <a:t>page</a:t>
            </a:r>
            <a:endParaRPr lang="sl-SI" noProof="0" dirty="0"/>
          </a:p>
        </p:txBody>
      </p:sp>
      <p:sp>
        <p:nvSpPr>
          <p:cNvPr id="60" name="Text Placeholder 42"/>
          <p:cNvSpPr>
            <a:spLocks noGrp="1"/>
          </p:cNvSpPr>
          <p:nvPr>
            <p:ph type="body" sz="quarter" idx="27" hasCustomPrompt="1"/>
          </p:nvPr>
        </p:nvSpPr>
        <p:spPr>
          <a:xfrm>
            <a:off x="10579766" y="3854252"/>
            <a:ext cx="960000" cy="360363"/>
          </a:xfrm>
        </p:spPr>
        <p:txBody>
          <a:bodyPr wrap="none">
            <a:noAutofit/>
          </a:bodyPr>
          <a:lstStyle>
            <a:lvl1pPr marL="0" indent="0" algn="r">
              <a:buNone/>
              <a:defRPr sz="1600" b="1">
                <a:solidFill>
                  <a:schemeClr val="bg2"/>
                </a:solidFill>
              </a:defRPr>
            </a:lvl1pPr>
          </a:lstStyle>
          <a:p>
            <a:pPr lvl="0"/>
            <a:r>
              <a:rPr lang="sl-SI" noProof="0" dirty="0" err="1"/>
              <a:t>page</a:t>
            </a:r>
            <a:endParaRPr lang="sl-SI" noProof="0" dirty="0"/>
          </a:p>
        </p:txBody>
      </p:sp>
      <p:sp>
        <p:nvSpPr>
          <p:cNvPr id="61" name="Text Placeholder 42"/>
          <p:cNvSpPr>
            <a:spLocks noGrp="1"/>
          </p:cNvSpPr>
          <p:nvPr>
            <p:ph type="body" sz="quarter" idx="28" hasCustomPrompt="1"/>
          </p:nvPr>
        </p:nvSpPr>
        <p:spPr>
          <a:xfrm>
            <a:off x="10579766" y="4273167"/>
            <a:ext cx="960000" cy="360363"/>
          </a:xfrm>
        </p:spPr>
        <p:txBody>
          <a:bodyPr wrap="none">
            <a:noAutofit/>
          </a:bodyPr>
          <a:lstStyle>
            <a:lvl1pPr marL="0" indent="0" algn="r">
              <a:buNone/>
              <a:defRPr sz="1600" b="1">
                <a:solidFill>
                  <a:schemeClr val="bg2"/>
                </a:solidFill>
              </a:defRPr>
            </a:lvl1pPr>
          </a:lstStyle>
          <a:p>
            <a:pPr lvl="0"/>
            <a:r>
              <a:rPr lang="sl-SI" noProof="0" dirty="0" err="1"/>
              <a:t>page</a:t>
            </a:r>
            <a:endParaRPr lang="sl-SI" noProof="0" dirty="0"/>
          </a:p>
        </p:txBody>
      </p:sp>
      <p:sp>
        <p:nvSpPr>
          <p:cNvPr id="62" name="Text Placeholder 42"/>
          <p:cNvSpPr>
            <a:spLocks noGrp="1"/>
          </p:cNvSpPr>
          <p:nvPr>
            <p:ph type="body" sz="quarter" idx="29" hasCustomPrompt="1"/>
          </p:nvPr>
        </p:nvSpPr>
        <p:spPr>
          <a:xfrm>
            <a:off x="10579766" y="4692081"/>
            <a:ext cx="960000" cy="360363"/>
          </a:xfrm>
        </p:spPr>
        <p:txBody>
          <a:bodyPr wrap="none">
            <a:noAutofit/>
          </a:bodyPr>
          <a:lstStyle>
            <a:lvl1pPr marL="0" indent="0" algn="r">
              <a:buNone/>
              <a:defRPr sz="1600" b="1">
                <a:solidFill>
                  <a:schemeClr val="bg2"/>
                </a:solidFill>
              </a:defRPr>
            </a:lvl1pPr>
          </a:lstStyle>
          <a:p>
            <a:pPr lvl="0"/>
            <a:r>
              <a:rPr lang="sl-SI" noProof="0" dirty="0" err="1"/>
              <a:t>page</a:t>
            </a:r>
            <a:endParaRPr lang="sl-SI" noProof="0" dirty="0"/>
          </a:p>
        </p:txBody>
      </p:sp>
      <p:sp>
        <p:nvSpPr>
          <p:cNvPr id="63" name="Text Placeholder 42"/>
          <p:cNvSpPr>
            <a:spLocks noGrp="1"/>
          </p:cNvSpPr>
          <p:nvPr>
            <p:ph type="body" sz="quarter" idx="30" hasCustomPrompt="1"/>
          </p:nvPr>
        </p:nvSpPr>
        <p:spPr>
          <a:xfrm>
            <a:off x="10579766" y="5110995"/>
            <a:ext cx="960000" cy="360363"/>
          </a:xfrm>
        </p:spPr>
        <p:txBody>
          <a:bodyPr wrap="none">
            <a:noAutofit/>
          </a:bodyPr>
          <a:lstStyle>
            <a:lvl1pPr marL="0" indent="0" algn="r">
              <a:buNone/>
              <a:defRPr sz="1600" b="1">
                <a:solidFill>
                  <a:schemeClr val="bg2"/>
                </a:solidFill>
              </a:defRPr>
            </a:lvl1pPr>
          </a:lstStyle>
          <a:p>
            <a:pPr lvl="0"/>
            <a:r>
              <a:rPr lang="sl-SI" noProof="0" dirty="0" err="1"/>
              <a:t>page</a:t>
            </a:r>
            <a:endParaRPr lang="sl-SI" noProof="0" dirty="0"/>
          </a:p>
        </p:txBody>
      </p:sp>
      <p:sp>
        <p:nvSpPr>
          <p:cNvPr id="64" name="Text Placeholder 42"/>
          <p:cNvSpPr>
            <a:spLocks noGrp="1"/>
          </p:cNvSpPr>
          <p:nvPr>
            <p:ph type="body" sz="quarter" idx="31" hasCustomPrompt="1"/>
          </p:nvPr>
        </p:nvSpPr>
        <p:spPr>
          <a:xfrm>
            <a:off x="10579766" y="5529912"/>
            <a:ext cx="960000" cy="360363"/>
          </a:xfrm>
        </p:spPr>
        <p:txBody>
          <a:bodyPr wrap="none">
            <a:noAutofit/>
          </a:bodyPr>
          <a:lstStyle>
            <a:lvl1pPr marL="0" indent="0" algn="r">
              <a:buNone/>
              <a:defRPr sz="1600" b="1">
                <a:solidFill>
                  <a:schemeClr val="bg2"/>
                </a:solidFill>
              </a:defRPr>
            </a:lvl1pPr>
          </a:lstStyle>
          <a:p>
            <a:pPr lvl="0"/>
            <a:r>
              <a:rPr lang="sl-SI" noProof="0" dirty="0" err="1"/>
              <a:t>page</a:t>
            </a:r>
            <a:endParaRPr lang="sl-SI" noProof="0" dirty="0"/>
          </a:p>
        </p:txBody>
      </p:sp>
      <p:sp>
        <p:nvSpPr>
          <p:cNvPr id="25" name="Slide Number Placeholder 3"/>
          <p:cNvSpPr>
            <a:spLocks noGrp="1"/>
          </p:cNvSpPr>
          <p:nvPr>
            <p:ph type="sldNum" sz="quarter" idx="4"/>
          </p:nvPr>
        </p:nvSpPr>
        <p:spPr>
          <a:xfrm>
            <a:off x="9936427" y="6648067"/>
            <a:ext cx="1632181" cy="182562"/>
          </a:xfrm>
          <a:prstGeom prst="rect">
            <a:avLst/>
          </a:prstGeom>
        </p:spPr>
        <p:txBody>
          <a:bodyPr vert="horz" lIns="91440" tIns="0" rIns="0" bIns="0" rtlCol="0" anchor="ctr" anchorCtr="0"/>
          <a:lstStyle>
            <a:lvl1pPr algn="r">
              <a:defRPr sz="1000">
                <a:solidFill>
                  <a:schemeClr val="tx2"/>
                </a:solidFill>
              </a:defRPr>
            </a:lvl1pPr>
          </a:lstStyle>
          <a:p>
            <a:fld id="{4E4FABFB-D960-4827-A99E-1FF56FC4539E}" type="slidenum">
              <a:rPr lang="sl-SI" noProof="0" smtClean="0"/>
              <a:pPr/>
              <a:t>‹#›</a:t>
            </a:fld>
            <a:endParaRPr lang="sl-SI" noProof="0" dirty="0"/>
          </a:p>
        </p:txBody>
      </p:sp>
    </p:spTree>
    <p:extLst>
      <p:ext uri="{BB962C8B-B14F-4D97-AF65-F5344CB8AC3E}">
        <p14:creationId xmlns:p14="http://schemas.microsoft.com/office/powerpoint/2010/main" val="24130568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ela slika">
    <p:spTree>
      <p:nvGrpSpPr>
        <p:cNvPr id="1" name=""/>
        <p:cNvGrpSpPr/>
        <p:nvPr/>
      </p:nvGrpSpPr>
      <p:grpSpPr>
        <a:xfrm>
          <a:off x="0" y="0"/>
          <a:ext cx="0" cy="0"/>
          <a:chOff x="0" y="0"/>
          <a:chExt cx="0" cy="0"/>
        </a:xfrm>
      </p:grpSpPr>
      <p:sp>
        <p:nvSpPr>
          <p:cNvPr id="2" name="Slide Number Placeholder 3"/>
          <p:cNvSpPr>
            <a:spLocks noGrp="1"/>
          </p:cNvSpPr>
          <p:nvPr>
            <p:ph type="sldNum" sz="quarter" idx="4"/>
          </p:nvPr>
        </p:nvSpPr>
        <p:spPr>
          <a:xfrm>
            <a:off x="9936427" y="6648067"/>
            <a:ext cx="1632181" cy="182562"/>
          </a:xfrm>
          <a:prstGeom prst="rect">
            <a:avLst/>
          </a:prstGeom>
        </p:spPr>
        <p:txBody>
          <a:bodyPr vert="horz" lIns="91440" tIns="0" rIns="0" bIns="0" rtlCol="0" anchor="ctr" anchorCtr="0"/>
          <a:lstStyle>
            <a:lvl1pPr algn="r">
              <a:defRPr sz="1000">
                <a:solidFill>
                  <a:schemeClr val="tx2"/>
                </a:solidFill>
              </a:defRPr>
            </a:lvl1pPr>
          </a:lstStyle>
          <a:p>
            <a:fld id="{4E4FABFB-D960-4827-A99E-1FF56FC4539E}" type="slidenum">
              <a:rPr lang="sl-SI" noProof="0" smtClean="0"/>
              <a:pPr/>
              <a:t>‹#›</a:t>
            </a:fld>
            <a:endParaRPr lang="sl-SI" noProof="0" dirty="0"/>
          </a:p>
        </p:txBody>
      </p:sp>
      <p:sp>
        <p:nvSpPr>
          <p:cNvPr id="4" name="Picture Placeholder 3"/>
          <p:cNvSpPr>
            <a:spLocks noGrp="1" noChangeAspect="1"/>
          </p:cNvSpPr>
          <p:nvPr>
            <p:ph type="pic" sz="quarter" idx="10"/>
          </p:nvPr>
        </p:nvSpPr>
        <p:spPr>
          <a:xfrm>
            <a:off x="0" y="-93600"/>
            <a:ext cx="12193200" cy="7044357"/>
          </a:xfrm>
        </p:spPr>
        <p:txBody>
          <a:bodyPr/>
          <a:lstStyle/>
          <a:p>
            <a:r>
              <a:rPr lang="en-US"/>
              <a:t>Click icon to add picture</a:t>
            </a:r>
            <a:endParaRPr lang="en-GB"/>
          </a:p>
        </p:txBody>
      </p:sp>
    </p:spTree>
    <p:extLst>
      <p:ext uri="{BB962C8B-B14F-4D97-AF65-F5344CB8AC3E}">
        <p14:creationId xmlns:p14="http://schemas.microsoft.com/office/powerpoint/2010/main" val="35237633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051" name="Picture 3"/>
          <p:cNvPicPr>
            <a:picLocks noChangeAspect="1" noChangeArrowheads="1"/>
          </p:cNvPicPr>
          <p:nvPr userDrawn="1"/>
        </p:nvPicPr>
        <p:blipFill>
          <a:blip r:embed="rId13" cstate="print">
            <a:extLst>
              <a:ext uri="{28A0092B-C50C-407E-A947-70E740481C1C}">
                <a14:useLocalDpi xmlns:a14="http://schemas.microsoft.com/office/drawing/2010/main" val="0"/>
              </a:ext>
            </a:extLst>
          </a:blip>
          <a:stretch>
            <a:fillRect/>
          </a:stretch>
        </p:blipFill>
        <p:spPr bwMode="auto">
          <a:xfrm>
            <a:off x="0" y="5943600"/>
            <a:ext cx="12192000" cy="9144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530502" y="360000"/>
            <a:ext cx="11131200" cy="1368000"/>
          </a:xfrm>
          <a:prstGeom prst="rect">
            <a:avLst/>
          </a:prstGeom>
        </p:spPr>
        <p:txBody>
          <a:bodyPr vert="horz" lIns="91440" tIns="45720" rIns="91440" bIns="45720" rtlCol="0" anchor="t" anchorCtr="0">
            <a:normAutofit/>
          </a:bodyPr>
          <a:lstStyle/>
          <a:p>
            <a:r>
              <a:rPr lang="en-US" noProof="0"/>
              <a:t>Click to edit Master title style</a:t>
            </a:r>
            <a:endParaRPr lang="sl-SI" noProof="0" dirty="0"/>
          </a:p>
        </p:txBody>
      </p:sp>
      <p:sp>
        <p:nvSpPr>
          <p:cNvPr id="3" name="Text Placeholder 2"/>
          <p:cNvSpPr>
            <a:spLocks noGrp="1"/>
          </p:cNvSpPr>
          <p:nvPr>
            <p:ph type="body" idx="1"/>
          </p:nvPr>
        </p:nvSpPr>
        <p:spPr>
          <a:xfrm>
            <a:off x="647633" y="1980000"/>
            <a:ext cx="10884682" cy="3780000"/>
          </a:xfrm>
          <a:prstGeom prst="rect">
            <a:avLst/>
          </a:prstGeom>
        </p:spPr>
        <p:txBody>
          <a:bodyPr vert="horz" wrap="square"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sl-SI" noProof="0" dirty="0"/>
          </a:p>
        </p:txBody>
      </p:sp>
      <p:sp>
        <p:nvSpPr>
          <p:cNvPr id="4" name="Slide Number Placeholder 3"/>
          <p:cNvSpPr>
            <a:spLocks noGrp="1"/>
          </p:cNvSpPr>
          <p:nvPr>
            <p:ph type="sldNum" sz="quarter" idx="4"/>
          </p:nvPr>
        </p:nvSpPr>
        <p:spPr>
          <a:xfrm>
            <a:off x="9911027" y="6648067"/>
            <a:ext cx="1632181" cy="182562"/>
          </a:xfrm>
          <a:prstGeom prst="rect">
            <a:avLst/>
          </a:prstGeom>
        </p:spPr>
        <p:txBody>
          <a:bodyPr vert="horz" lIns="91440" tIns="0" rIns="0" bIns="0" rtlCol="0" anchor="ctr" anchorCtr="0"/>
          <a:lstStyle>
            <a:lvl1pPr algn="r">
              <a:defRPr sz="1000">
                <a:solidFill>
                  <a:schemeClr val="tx2"/>
                </a:solidFill>
              </a:defRPr>
            </a:lvl1pPr>
          </a:lstStyle>
          <a:p>
            <a:fld id="{4E4FABFB-D960-4827-A99E-1FF56FC4539E}" type="slidenum">
              <a:rPr lang="sl-SI" smtClean="0"/>
              <a:pPr/>
              <a:t>‹#›</a:t>
            </a:fld>
            <a:endParaRPr lang="sl-SI" dirty="0"/>
          </a:p>
        </p:txBody>
      </p:sp>
    </p:spTree>
    <p:extLst>
      <p:ext uri="{BB962C8B-B14F-4D97-AF65-F5344CB8AC3E}">
        <p14:creationId xmlns:p14="http://schemas.microsoft.com/office/powerpoint/2010/main" val="301585744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59" r:id="rId4"/>
    <p:sldLayoutId id="2147483658" r:id="rId5"/>
    <p:sldLayoutId id="2147483654" r:id="rId6"/>
    <p:sldLayoutId id="2147483657" r:id="rId7"/>
    <p:sldLayoutId id="2147483656" r:id="rId8"/>
    <p:sldLayoutId id="2147483655" r:id="rId9"/>
    <p:sldLayoutId id="2147483660" r:id="rId10"/>
    <p:sldLayoutId id="2147483661" r:id="rId11"/>
  </p:sldLayoutIdLst>
  <p:hf hdr="0" ftr="0" dt="0"/>
  <p:txStyles>
    <p:titleStyle>
      <a:lvl1pPr algn="l" defTabSz="914400" rtl="0" eaLnBrk="1" latinLnBrk="0" hangingPunct="1">
        <a:lnSpc>
          <a:spcPts val="4800"/>
        </a:lnSpc>
        <a:spcBef>
          <a:spcPct val="0"/>
        </a:spcBef>
        <a:buNone/>
        <a:defRPr sz="4400" kern="1200">
          <a:solidFill>
            <a:schemeClr val="tx1"/>
          </a:solidFill>
          <a:latin typeface="+mj-lt"/>
          <a:ea typeface="+mj-ea"/>
          <a:cs typeface="+mj-cs"/>
        </a:defRPr>
      </a:lvl1pPr>
    </p:titleStyle>
    <p:bodyStyle>
      <a:lvl1pPr marL="144000" indent="-144000" algn="l" defTabSz="914400" rtl="0" eaLnBrk="1" latinLnBrk="0" hangingPunct="1">
        <a:spcBef>
          <a:spcPts val="40"/>
        </a:spcBef>
        <a:buFont typeface="Arial" panose="020B0604020202020204" pitchFamily="34" charset="0"/>
        <a:buChar char="•"/>
        <a:defRPr sz="2000" kern="1200">
          <a:solidFill>
            <a:schemeClr val="tx1"/>
          </a:solidFill>
          <a:latin typeface="+mn-lt"/>
          <a:ea typeface="+mn-ea"/>
          <a:cs typeface="+mn-cs"/>
        </a:defRPr>
      </a:lvl1pPr>
      <a:lvl2pPr marL="288000" indent="-144000" algn="l" defTabSz="914400" rtl="0" eaLnBrk="1" latinLnBrk="0" hangingPunct="1">
        <a:spcBef>
          <a:spcPts val="40"/>
        </a:spcBef>
        <a:buFont typeface="Arial" panose="020B0604020202020204" pitchFamily="34" charset="0"/>
        <a:buChar char="•"/>
        <a:defRPr sz="1800" kern="1200">
          <a:solidFill>
            <a:schemeClr val="tx1"/>
          </a:solidFill>
          <a:latin typeface="+mn-lt"/>
          <a:ea typeface="+mn-ea"/>
          <a:cs typeface="+mn-cs"/>
        </a:defRPr>
      </a:lvl2pPr>
      <a:lvl3pPr marL="432000" indent="-144000" algn="l" defTabSz="914400" rtl="0" eaLnBrk="1" latinLnBrk="0" hangingPunct="1">
        <a:spcBef>
          <a:spcPts val="40"/>
        </a:spcBef>
        <a:buFont typeface="Arial" panose="020B0604020202020204" pitchFamily="34" charset="0"/>
        <a:buChar char="•"/>
        <a:defRPr sz="1600" kern="1200">
          <a:solidFill>
            <a:schemeClr val="tx1"/>
          </a:solidFill>
          <a:latin typeface="+mn-lt"/>
          <a:ea typeface="+mn-ea"/>
          <a:cs typeface="+mn-cs"/>
        </a:defRPr>
      </a:lvl3pPr>
      <a:lvl4pPr marL="576000" indent="-144000" algn="l" defTabSz="914400" rtl="0" eaLnBrk="1" latinLnBrk="0" hangingPunct="1">
        <a:spcBef>
          <a:spcPts val="40"/>
        </a:spcBef>
        <a:buFont typeface="Arial" panose="020B0604020202020204" pitchFamily="34" charset="0"/>
        <a:buChar char="•"/>
        <a:defRPr sz="1400" kern="1200">
          <a:solidFill>
            <a:schemeClr val="tx1"/>
          </a:solidFill>
          <a:latin typeface="+mn-lt"/>
          <a:ea typeface="+mn-ea"/>
          <a:cs typeface="+mn-cs"/>
        </a:defRPr>
      </a:lvl4pPr>
      <a:lvl5pPr marL="720000" indent="-144000" algn="l" defTabSz="914400" rtl="0" eaLnBrk="1" latinLnBrk="0" hangingPunct="1">
        <a:spcBef>
          <a:spcPts val="4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l-S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xml"/><Relationship Id="rId1" Type="http://schemas.openxmlformats.org/officeDocument/2006/relationships/tags" Target="../tags/tag1.xml"/><Relationship Id="rId5" Type="http://schemas.openxmlformats.org/officeDocument/2006/relationships/image" Target="../media/image6.jpg"/><Relationship Id="rId4" Type="http://schemas.openxmlformats.org/officeDocument/2006/relationships/image" Target="../media/image5.emf"/></Relationships>
</file>

<file path=ppt/slides/_rels/slide10.xml.rels><?xml version="1.0" encoding="UTF-8" standalone="yes"?>
<Relationships xmlns="http://schemas.openxmlformats.org/package/2006/relationships"><Relationship Id="rId8" Type="http://schemas.openxmlformats.org/officeDocument/2006/relationships/hyperlink" Target="https://greenchecker.eib.org/specification/renewables/photovoltaic/18b41edf2be" TargetMode="External"/><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13.png"/><Relationship Id="rId1" Type="http://schemas.openxmlformats.org/officeDocument/2006/relationships/slideLayout" Target="../slideLayouts/slideLayout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8" Type="http://schemas.openxmlformats.org/officeDocument/2006/relationships/hyperlink" Target="https://greenchecker.eib.org/specification/renewables/photovoltaic/18b41edf2be" TargetMode="External"/><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image" Target="../media/image14.png"/><Relationship Id="rId1" Type="http://schemas.openxmlformats.org/officeDocument/2006/relationships/slideLayout" Target="../slideLayouts/slideLayout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2.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image" Target="../media/image15.png"/><Relationship Id="rId7" Type="http://schemas.openxmlformats.org/officeDocument/2006/relationships/diagramColors" Target="../diagrams/colors4.xml"/><Relationship Id="rId2" Type="http://schemas.openxmlformats.org/officeDocument/2006/relationships/hyperlink" Target="https://greenchecker.eib.org/specification/renewables/photovoltaic/18b41edf2be" TargetMode="External"/><Relationship Id="rId1" Type="http://schemas.openxmlformats.org/officeDocument/2006/relationships/slideLayout" Target="../slideLayouts/slideLayout4.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5.xml"/><Relationship Id="rId7" Type="http://schemas.openxmlformats.org/officeDocument/2006/relationships/image" Target="../media/image16.png"/><Relationship Id="rId2" Type="http://schemas.openxmlformats.org/officeDocument/2006/relationships/diagramData" Target="../diagrams/data5.xml"/><Relationship Id="rId1" Type="http://schemas.openxmlformats.org/officeDocument/2006/relationships/slideLayout" Target="../slideLayouts/slideLayout4.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4.xml.rels><?xml version="1.0" encoding="UTF-8" standalone="yes"?>
<Relationships xmlns="http://schemas.openxmlformats.org/package/2006/relationships"><Relationship Id="rId8" Type="http://schemas.openxmlformats.org/officeDocument/2006/relationships/hyperlink" Target="https://ec.europa.eu/sustainable-finance-taxonomy/activities/activity/202/view" TargetMode="External"/><Relationship Id="rId3" Type="http://schemas.openxmlformats.org/officeDocument/2006/relationships/diagramLayout" Target="../diagrams/layout6.xml"/><Relationship Id="rId7" Type="http://schemas.openxmlformats.org/officeDocument/2006/relationships/image" Target="../media/image17.png"/><Relationship Id="rId2" Type="http://schemas.openxmlformats.org/officeDocument/2006/relationships/diagramData" Target="../diagrams/data6.xml"/><Relationship Id="rId1" Type="http://schemas.openxmlformats.org/officeDocument/2006/relationships/slideLayout" Target="../slideLayouts/slideLayout4.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15.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0.xml"/><Relationship Id="rId1" Type="http://schemas.openxmlformats.org/officeDocument/2006/relationships/tags" Target="../tags/tag2.xml"/><Relationship Id="rId6" Type="http://schemas.openxmlformats.org/officeDocument/2006/relationships/hyperlink" Target="http://www.nlb.si/" TargetMode="External"/><Relationship Id="rId5" Type="http://schemas.openxmlformats.org/officeDocument/2006/relationships/image" Target="../media/image7.emf"/><Relationship Id="rId4" Type="http://schemas.openxmlformats.org/officeDocument/2006/relationships/oleObject" Target="../embeddings/oleObject2.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0.xml"/><Relationship Id="rId1" Type="http://schemas.openxmlformats.org/officeDocument/2006/relationships/tags" Target="../tags/tag3.x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image" Target="../media/image8.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0.xml"/><Relationship Id="rId1" Type="http://schemas.openxmlformats.org/officeDocument/2006/relationships/tags" Target="../tags/tag4.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s/_rels/slide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hyperlink" Target="https://www.nlb.si/nlb/nlb-portal/eng/investor-relations/debt-instruments/nlb-green-bond-framework.pdf" TargetMode="Externa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F64B06A-64D7-422A-8342-855C2679C51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3" imgH="274" progId="TCLayout.ActiveDocument.1">
                  <p:embed/>
                </p:oleObj>
              </mc:Choice>
              <mc:Fallback>
                <p:oleObj name="think-cell Slide" r:id="rId3" imgW="273" imgH="274" progId="TCLayout.ActiveDocument.1">
                  <p:embed/>
                  <p:pic>
                    <p:nvPicPr>
                      <p:cNvPr id="9" name="Object 8" hidden="1">
                        <a:extLst>
                          <a:ext uri="{FF2B5EF4-FFF2-40B4-BE49-F238E27FC236}">
                            <a16:creationId xmlns:a16="http://schemas.microsoft.com/office/drawing/2014/main" id="{AF64B06A-64D7-422A-8342-855C2679C5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descr="Map&#10;&#10;Description automatically generated">
            <a:extLst>
              <a:ext uri="{FF2B5EF4-FFF2-40B4-BE49-F238E27FC236}">
                <a16:creationId xmlns:a16="http://schemas.microsoft.com/office/drawing/2014/main" id="{2528FFD9-B9B5-4692-B52A-1ED02D069F8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79" y="-27371"/>
            <a:ext cx="12192000" cy="6858000"/>
          </a:xfrm>
          <a:prstGeom prst="rect">
            <a:avLst/>
          </a:prstGeom>
        </p:spPr>
      </p:pic>
      <p:sp>
        <p:nvSpPr>
          <p:cNvPr id="2" name="Title 1">
            <a:extLst>
              <a:ext uri="{FF2B5EF4-FFF2-40B4-BE49-F238E27FC236}">
                <a16:creationId xmlns:a16="http://schemas.microsoft.com/office/drawing/2014/main" id="{78B7F31B-D70A-490B-B649-F5A947A34667}"/>
              </a:ext>
            </a:extLst>
          </p:cNvPr>
          <p:cNvSpPr>
            <a:spLocks noGrp="1"/>
          </p:cNvSpPr>
          <p:nvPr>
            <p:ph type="ctrTitle"/>
          </p:nvPr>
        </p:nvSpPr>
        <p:spPr>
          <a:xfrm>
            <a:off x="522297" y="2050699"/>
            <a:ext cx="10963267" cy="936104"/>
          </a:xfrm>
        </p:spPr>
        <p:txBody>
          <a:bodyPr vert="horz"/>
          <a:lstStyle/>
          <a:p>
            <a:r>
              <a:rPr lang="sl-SI" sz="3600" b="1" dirty="0">
                <a:solidFill>
                  <a:schemeClr val="bg1"/>
                </a:solidFill>
              </a:rPr>
              <a:t>Ravnanje z odpadki v luči bodočih</a:t>
            </a:r>
            <a:br>
              <a:rPr lang="sl-SI" sz="3600" b="1" dirty="0">
                <a:solidFill>
                  <a:schemeClr val="bg1"/>
                </a:solidFill>
              </a:rPr>
            </a:br>
            <a:r>
              <a:rPr lang="sl-SI" sz="3600" b="1" dirty="0">
                <a:solidFill>
                  <a:schemeClr val="bg1"/>
                </a:solidFill>
              </a:rPr>
              <a:t>zakonodajnih sprememb v Sloveniji in EU</a:t>
            </a:r>
            <a:endParaRPr lang="en-AU" sz="3600" b="1" dirty="0">
              <a:solidFill>
                <a:schemeClr val="bg1"/>
              </a:solidFill>
            </a:endParaRPr>
          </a:p>
        </p:txBody>
      </p:sp>
      <p:sp>
        <p:nvSpPr>
          <p:cNvPr id="3" name="Subtitle 2">
            <a:extLst>
              <a:ext uri="{FF2B5EF4-FFF2-40B4-BE49-F238E27FC236}">
                <a16:creationId xmlns:a16="http://schemas.microsoft.com/office/drawing/2014/main" id="{0708F1FD-FECA-401E-837D-B698D684831D}"/>
              </a:ext>
            </a:extLst>
          </p:cNvPr>
          <p:cNvSpPr>
            <a:spLocks noGrp="1"/>
          </p:cNvSpPr>
          <p:nvPr>
            <p:ph type="subTitle" idx="1"/>
          </p:nvPr>
        </p:nvSpPr>
        <p:spPr>
          <a:xfrm>
            <a:off x="490071" y="6418237"/>
            <a:ext cx="2534752" cy="272956"/>
          </a:xfrm>
        </p:spPr>
        <p:txBody>
          <a:bodyPr>
            <a:normAutofit/>
          </a:bodyPr>
          <a:lstStyle/>
          <a:p>
            <a:r>
              <a:rPr lang="sl-SI"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20. oktober 2023</a:t>
            </a:r>
            <a:endParaRPr lang="sl-SI" sz="1200" dirty="0">
              <a:solidFill>
                <a:schemeClr val="bg1"/>
              </a:solidFill>
            </a:endParaRPr>
          </a:p>
        </p:txBody>
      </p:sp>
      <p:sp>
        <p:nvSpPr>
          <p:cNvPr id="4" name="Text Placeholder 3">
            <a:extLst>
              <a:ext uri="{FF2B5EF4-FFF2-40B4-BE49-F238E27FC236}">
                <a16:creationId xmlns:a16="http://schemas.microsoft.com/office/drawing/2014/main" id="{B628E9EB-75FD-4B26-B7A0-FD5BCD3D17B0}"/>
              </a:ext>
            </a:extLst>
          </p:cNvPr>
          <p:cNvSpPr>
            <a:spLocks noGrp="1"/>
          </p:cNvSpPr>
          <p:nvPr>
            <p:ph type="body" sz="quarter" idx="10"/>
          </p:nvPr>
        </p:nvSpPr>
        <p:spPr>
          <a:xfrm>
            <a:off x="619597" y="3396548"/>
            <a:ext cx="10952805" cy="1008112"/>
          </a:xfrm>
        </p:spPr>
        <p:txBody>
          <a:bodyPr/>
          <a:lstStyle/>
          <a:p>
            <a:r>
              <a:rPr lang="sl-SI" sz="3200" b="1" dirty="0">
                <a:solidFill>
                  <a:schemeClr val="bg1"/>
                </a:solidFill>
              </a:rPr>
              <a:t>Podpora bank pri zeleni transformaciji podjetij</a:t>
            </a:r>
          </a:p>
          <a:p>
            <a:endParaRPr lang="en-AU" b="1" dirty="0">
              <a:solidFill>
                <a:schemeClr val="bg1"/>
              </a:solidFill>
            </a:endParaRPr>
          </a:p>
        </p:txBody>
      </p:sp>
      <p:sp>
        <p:nvSpPr>
          <p:cNvPr id="5" name="Text Placeholder 4">
            <a:extLst>
              <a:ext uri="{FF2B5EF4-FFF2-40B4-BE49-F238E27FC236}">
                <a16:creationId xmlns:a16="http://schemas.microsoft.com/office/drawing/2014/main" id="{93F09EF7-52CD-4215-BAAE-B099A596B94B}"/>
              </a:ext>
            </a:extLst>
          </p:cNvPr>
          <p:cNvSpPr>
            <a:spLocks noGrp="1"/>
          </p:cNvSpPr>
          <p:nvPr>
            <p:ph type="body" sz="quarter" idx="11"/>
          </p:nvPr>
        </p:nvSpPr>
        <p:spPr>
          <a:xfrm>
            <a:off x="7608168" y="6473813"/>
            <a:ext cx="4176464" cy="217380"/>
          </a:xfrm>
        </p:spPr>
        <p:txBody>
          <a:bodyPr/>
          <a:lstStyle/>
          <a:p>
            <a:r>
              <a:rPr lang="sl-SI" sz="1600" b="1" dirty="0">
                <a:solidFill>
                  <a:schemeClr val="bg1"/>
                </a:solidFill>
              </a:rPr>
              <a:t>mag. Iztok Pustatičnik</a:t>
            </a:r>
          </a:p>
          <a:p>
            <a:endParaRPr lang="en-AU" dirty="0">
              <a:solidFill>
                <a:schemeClr val="bg1"/>
              </a:solidFill>
            </a:endParaRPr>
          </a:p>
        </p:txBody>
      </p:sp>
      <p:sp>
        <p:nvSpPr>
          <p:cNvPr id="7" name="TextBox 6">
            <a:extLst>
              <a:ext uri="{FF2B5EF4-FFF2-40B4-BE49-F238E27FC236}">
                <a16:creationId xmlns:a16="http://schemas.microsoft.com/office/drawing/2014/main" id="{1E6546CC-495E-A693-F007-F29A8D6CA086}"/>
              </a:ext>
            </a:extLst>
          </p:cNvPr>
          <p:cNvSpPr txBox="1"/>
          <p:nvPr/>
        </p:nvSpPr>
        <p:spPr>
          <a:xfrm>
            <a:off x="619596" y="4146371"/>
            <a:ext cx="10156923" cy="390684"/>
          </a:xfrm>
          <a:prstGeom prst="rect">
            <a:avLst/>
          </a:prstGeom>
          <a:noFill/>
        </p:spPr>
        <p:txBody>
          <a:bodyPr wrap="square">
            <a:spAutoFit/>
          </a:bodyPr>
          <a:lstStyle/>
          <a:p>
            <a:pPr>
              <a:lnSpc>
                <a:spcPct val="115000"/>
              </a:lnSpc>
              <a:spcAft>
                <a:spcPts val="1000"/>
              </a:spcAft>
            </a:pPr>
            <a:r>
              <a:rPr lang="sl-SI" sz="18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10.  konferenca Sekcije zbiralcev in predelovalcev kovinskih in nekovinskih odpadkov</a:t>
            </a:r>
            <a:endParaRPr lang="sl-SI" sz="1800" dirty="0">
              <a:solidFill>
                <a:schemeClr val="bg1"/>
              </a:solidFill>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12228273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AE52530-1909-41B7-B5E3-05D64DFD907D}"/>
              </a:ext>
            </a:extLst>
          </p:cNvPr>
          <p:cNvSpPr>
            <a:spLocks noGrp="1"/>
          </p:cNvSpPr>
          <p:nvPr>
            <p:ph type="title"/>
          </p:nvPr>
        </p:nvSpPr>
        <p:spPr>
          <a:xfrm>
            <a:off x="516840" y="466904"/>
            <a:ext cx="11131200" cy="638983"/>
          </a:xfrm>
        </p:spPr>
        <p:txBody>
          <a:bodyPr anchor="t">
            <a:normAutofit/>
          </a:bodyPr>
          <a:lstStyle/>
          <a:p>
            <a:pPr>
              <a:spcBef>
                <a:spcPts val="40"/>
              </a:spcBef>
            </a:pPr>
            <a:r>
              <a:rPr lang="sl-SI" sz="2400" dirty="0">
                <a:solidFill>
                  <a:schemeClr val="accent1"/>
                </a:solidFill>
                <a:latin typeface="+mn-lt"/>
                <a:ea typeface="+mn-ea"/>
                <a:cs typeface="+mn-cs"/>
              </a:rPr>
              <a:t>4.3.1 Primeri zelenega financiranja – sončna elektrarna</a:t>
            </a:r>
            <a:endParaRPr lang="en-US" sz="2400" dirty="0">
              <a:solidFill>
                <a:schemeClr val="accent1"/>
              </a:solidFill>
              <a:latin typeface="+mn-lt"/>
              <a:ea typeface="+mn-ea"/>
              <a:cs typeface="+mn-cs"/>
            </a:endParaRPr>
          </a:p>
        </p:txBody>
      </p:sp>
      <p:sp>
        <p:nvSpPr>
          <p:cNvPr id="4" name="Slide Number Placeholder 3">
            <a:extLst>
              <a:ext uri="{FF2B5EF4-FFF2-40B4-BE49-F238E27FC236}">
                <a16:creationId xmlns:a16="http://schemas.microsoft.com/office/drawing/2014/main" id="{DC65D1B3-FFE3-4F4E-ACDC-5C67AA0DB6CA}"/>
              </a:ext>
            </a:extLst>
          </p:cNvPr>
          <p:cNvSpPr>
            <a:spLocks noGrp="1"/>
          </p:cNvSpPr>
          <p:nvPr>
            <p:ph type="sldNum" sz="quarter" idx="4"/>
          </p:nvPr>
        </p:nvSpPr>
        <p:spPr>
          <a:xfrm>
            <a:off x="9936427" y="6648067"/>
            <a:ext cx="1632181" cy="182562"/>
          </a:xfrm>
        </p:spPr>
        <p:txBody>
          <a:bodyPr anchor="ctr">
            <a:normAutofit/>
          </a:bodyPr>
          <a:lstStyle/>
          <a:p>
            <a:pPr>
              <a:spcAft>
                <a:spcPts val="600"/>
              </a:spcAft>
              <a:defRPr/>
            </a:pPr>
            <a:fld id="{C7E30386-8DAC-4717-AC36-AAFF3D4F8F1C}" type="slidenum">
              <a:rPr lang="sl-SI" altLang="sl-SI" smtClean="0"/>
              <a:pPr>
                <a:spcAft>
                  <a:spcPts val="600"/>
                </a:spcAft>
                <a:defRPr/>
              </a:pPr>
              <a:t>10</a:t>
            </a:fld>
            <a:endParaRPr lang="sl-SI" altLang="sl-SI"/>
          </a:p>
        </p:txBody>
      </p:sp>
      <p:sp>
        <p:nvSpPr>
          <p:cNvPr id="3" name="TextBox 2">
            <a:extLst>
              <a:ext uri="{FF2B5EF4-FFF2-40B4-BE49-F238E27FC236}">
                <a16:creationId xmlns:a16="http://schemas.microsoft.com/office/drawing/2014/main" id="{71D0B696-63F4-3ADE-3682-75F357717C0E}"/>
              </a:ext>
            </a:extLst>
          </p:cNvPr>
          <p:cNvSpPr txBox="1"/>
          <p:nvPr/>
        </p:nvSpPr>
        <p:spPr>
          <a:xfrm>
            <a:off x="596272" y="175334"/>
            <a:ext cx="10972336" cy="523220"/>
          </a:xfrm>
          <a:prstGeom prst="rect">
            <a:avLst/>
          </a:prstGeom>
          <a:noFill/>
        </p:spPr>
        <p:txBody>
          <a:bodyPr wrap="square">
            <a:spAutoFit/>
          </a:bodyPr>
          <a:lstStyle/>
          <a:p>
            <a:r>
              <a:rPr lang="sl-SI" sz="2800" dirty="0">
                <a:solidFill>
                  <a:schemeClr val="accent1"/>
                </a:solidFill>
              </a:rPr>
              <a:t>4. Zeleno (trajnostno) financiranje</a:t>
            </a:r>
            <a:endParaRPr lang="en-GB" sz="2800" dirty="0"/>
          </a:p>
        </p:txBody>
      </p:sp>
      <p:sp>
        <p:nvSpPr>
          <p:cNvPr id="2" name="Rectangle 1">
            <a:extLst>
              <a:ext uri="{FF2B5EF4-FFF2-40B4-BE49-F238E27FC236}">
                <a16:creationId xmlns:a16="http://schemas.microsoft.com/office/drawing/2014/main" id="{86FD2ECB-AD2B-654C-AACB-06D4B238C0BB}"/>
              </a:ext>
            </a:extLst>
          </p:cNvPr>
          <p:cNvSpPr/>
          <p:nvPr/>
        </p:nvSpPr>
        <p:spPr>
          <a:xfrm>
            <a:off x="492906" y="1234638"/>
            <a:ext cx="11511563" cy="545406"/>
          </a:xfrm>
          <a:prstGeom prst="rect">
            <a:avLst/>
          </a:prstGeom>
        </p:spPr>
        <p:txBody>
          <a:bodyPr wrap="square" lIns="91440" tIns="45720" rIns="91440" bIns="45720" anchor="t">
            <a:spAutoFit/>
          </a:bodyPr>
          <a:lstStyle/>
          <a:p>
            <a:pPr marL="171450" marR="0" lvl="0" indent="-171450" algn="l" defTabSz="914400" rtl="0" eaLnBrk="1" fontAlgn="auto" latinLnBrk="0" hangingPunct="1">
              <a:lnSpc>
                <a:spcPct val="92000"/>
              </a:lnSpc>
              <a:spcBef>
                <a:spcPts val="0"/>
              </a:spcBef>
              <a:spcAft>
                <a:spcPts val="0"/>
              </a:spcAft>
              <a:buClrTx/>
              <a:buSzTx/>
              <a:buFont typeface="Wingdings" panose="05000000000000000000" pitchFamily="2" charset="2"/>
              <a:buChar char="§"/>
              <a:tabLst/>
              <a:defRPr/>
            </a:pPr>
            <a:r>
              <a:rPr kumimoji="0" lang="sl-SI" sz="16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Pri zelenem financiranju sončne elektrarne so potrebne dodatne informacije o kapaciteti, predvideni letni proizvodnji, preprečenih letnih emisijah, prihranki pri stroških  </a:t>
            </a:r>
            <a:r>
              <a:rPr kumimoji="0" lang="sl-SI" sz="160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možno preveriti na EIB </a:t>
            </a:r>
            <a:r>
              <a:rPr kumimoji="0" lang="sl-SI" sz="1600" i="0" u="none" strike="noStrike" kern="1200" cap="none" spc="0" normalizeH="0" baseline="0" noProof="0" dirty="0" err="1">
                <a:ln>
                  <a:noFill/>
                </a:ln>
                <a:effectLst/>
                <a:uLnTx/>
                <a:uFillTx/>
                <a:latin typeface="Arial" panose="020B0604020202020204" pitchFamily="34" charset="0"/>
                <a:ea typeface="+mn-ea"/>
                <a:cs typeface="Arial" panose="020B0604020202020204" pitchFamily="34" charset="0"/>
              </a:rPr>
              <a:t>Checker</a:t>
            </a:r>
            <a:r>
              <a:rPr lang="sl-SI" sz="1600" dirty="0">
                <a:latin typeface="Arial" panose="020B0604020202020204" pitchFamily="34" charset="0"/>
                <a:cs typeface="Arial" panose="020B0604020202020204" pitchFamily="34" charset="0"/>
              </a:rPr>
              <a:t>)</a:t>
            </a:r>
            <a:endParaRPr kumimoji="0" lang="en-AU" sz="1600" i="0"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p:txBody>
      </p:sp>
      <p:pic>
        <p:nvPicPr>
          <p:cNvPr id="12" name="Content Placeholder 11">
            <a:extLst>
              <a:ext uri="{FF2B5EF4-FFF2-40B4-BE49-F238E27FC236}">
                <a16:creationId xmlns:a16="http://schemas.microsoft.com/office/drawing/2014/main" id="{0C2D9D47-44DC-5352-905D-C7A0335550B4}"/>
              </a:ext>
            </a:extLst>
          </p:cNvPr>
          <p:cNvPicPr>
            <a:picLocks noGrp="1" noChangeAspect="1"/>
          </p:cNvPicPr>
          <p:nvPr>
            <p:ph sz="half" idx="2"/>
          </p:nvPr>
        </p:nvPicPr>
        <p:blipFill>
          <a:blip r:embed="rId2"/>
          <a:stretch>
            <a:fillRect/>
          </a:stretch>
        </p:blipFill>
        <p:spPr>
          <a:xfrm>
            <a:off x="650875" y="2551510"/>
            <a:ext cx="3905250" cy="2636043"/>
          </a:xfrm>
          <a:prstGeom prst="rect">
            <a:avLst/>
          </a:prstGeom>
        </p:spPr>
      </p:pic>
      <p:graphicFrame>
        <p:nvGraphicFramePr>
          <p:cNvPr id="13" name="Content Placeholder 12">
            <a:extLst>
              <a:ext uri="{FF2B5EF4-FFF2-40B4-BE49-F238E27FC236}">
                <a16:creationId xmlns:a16="http://schemas.microsoft.com/office/drawing/2014/main" id="{57210D13-CDB8-B690-89C8-BD7E23214FEA}"/>
              </a:ext>
            </a:extLst>
          </p:cNvPr>
          <p:cNvGraphicFramePr>
            <a:graphicFrameLocks noGrp="1"/>
          </p:cNvGraphicFramePr>
          <p:nvPr>
            <p:ph sz="half" idx="1"/>
            <p:extLst>
              <p:ext uri="{D42A27DB-BD31-4B8C-83A1-F6EECF244321}">
                <p14:modId xmlns:p14="http://schemas.microsoft.com/office/powerpoint/2010/main" val="1017126075"/>
              </p:ext>
            </p:extLst>
          </p:nvPr>
        </p:nvGraphicFramePr>
        <p:xfrm>
          <a:off x="4894917" y="1928774"/>
          <a:ext cx="6580188" cy="453650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5" name="TextBox 14">
            <a:extLst>
              <a:ext uri="{FF2B5EF4-FFF2-40B4-BE49-F238E27FC236}">
                <a16:creationId xmlns:a16="http://schemas.microsoft.com/office/drawing/2014/main" id="{A5C2266D-C73B-0723-2010-C4C00767E851}"/>
              </a:ext>
            </a:extLst>
          </p:cNvPr>
          <p:cNvSpPr txBox="1"/>
          <p:nvPr/>
        </p:nvSpPr>
        <p:spPr>
          <a:xfrm>
            <a:off x="767408" y="5438696"/>
            <a:ext cx="6094268" cy="369332"/>
          </a:xfrm>
          <a:prstGeom prst="rect">
            <a:avLst/>
          </a:prstGeom>
          <a:noFill/>
        </p:spPr>
        <p:txBody>
          <a:bodyPr wrap="square">
            <a:spAutoFit/>
          </a:bodyPr>
          <a:lstStyle/>
          <a:p>
            <a:r>
              <a:rPr lang="sl-SI" dirty="0">
                <a:hlinkClick r:id="rId8"/>
              </a:rPr>
              <a:t>EIB </a:t>
            </a:r>
            <a:r>
              <a:rPr lang="sl-SI" dirty="0" err="1">
                <a:hlinkClick r:id="rId8"/>
              </a:rPr>
              <a:t>Green</a:t>
            </a:r>
            <a:r>
              <a:rPr lang="sl-SI" dirty="0">
                <a:hlinkClick r:id="rId8"/>
              </a:rPr>
              <a:t> </a:t>
            </a:r>
            <a:r>
              <a:rPr lang="sl-SI" dirty="0" err="1">
                <a:hlinkClick r:id="rId8"/>
              </a:rPr>
              <a:t>Eligibility</a:t>
            </a:r>
            <a:r>
              <a:rPr lang="sl-SI" dirty="0">
                <a:hlinkClick r:id="rId8"/>
              </a:rPr>
              <a:t> </a:t>
            </a:r>
            <a:r>
              <a:rPr lang="sl-SI" dirty="0" err="1">
                <a:hlinkClick r:id="rId8"/>
              </a:rPr>
              <a:t>Checker</a:t>
            </a:r>
            <a:endParaRPr lang="en-GB" dirty="0"/>
          </a:p>
        </p:txBody>
      </p:sp>
    </p:spTree>
    <p:extLst>
      <p:ext uri="{BB962C8B-B14F-4D97-AF65-F5344CB8AC3E}">
        <p14:creationId xmlns:p14="http://schemas.microsoft.com/office/powerpoint/2010/main" val="15892202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AE52530-1909-41B7-B5E3-05D64DFD907D}"/>
              </a:ext>
            </a:extLst>
          </p:cNvPr>
          <p:cNvSpPr>
            <a:spLocks noGrp="1"/>
          </p:cNvSpPr>
          <p:nvPr>
            <p:ph type="title"/>
          </p:nvPr>
        </p:nvSpPr>
        <p:spPr>
          <a:xfrm>
            <a:off x="492906" y="470083"/>
            <a:ext cx="11131200" cy="638983"/>
          </a:xfrm>
        </p:spPr>
        <p:txBody>
          <a:bodyPr anchor="t">
            <a:normAutofit/>
          </a:bodyPr>
          <a:lstStyle/>
          <a:p>
            <a:pPr>
              <a:spcBef>
                <a:spcPts val="40"/>
              </a:spcBef>
            </a:pPr>
            <a:r>
              <a:rPr lang="sl-SI" sz="2400" dirty="0">
                <a:solidFill>
                  <a:schemeClr val="accent1"/>
                </a:solidFill>
                <a:latin typeface="+mn-lt"/>
                <a:ea typeface="+mn-ea"/>
                <a:cs typeface="+mn-cs"/>
              </a:rPr>
              <a:t>4.3.2 Primeri zelenega financiranja – nakup in menjava oken</a:t>
            </a:r>
            <a:endParaRPr lang="en-US" sz="2400" dirty="0">
              <a:solidFill>
                <a:schemeClr val="accent1"/>
              </a:solidFill>
              <a:latin typeface="+mn-lt"/>
              <a:ea typeface="+mn-ea"/>
              <a:cs typeface="+mn-cs"/>
            </a:endParaRPr>
          </a:p>
        </p:txBody>
      </p:sp>
      <p:sp>
        <p:nvSpPr>
          <p:cNvPr id="4" name="Slide Number Placeholder 3">
            <a:extLst>
              <a:ext uri="{FF2B5EF4-FFF2-40B4-BE49-F238E27FC236}">
                <a16:creationId xmlns:a16="http://schemas.microsoft.com/office/drawing/2014/main" id="{DC65D1B3-FFE3-4F4E-ACDC-5C67AA0DB6CA}"/>
              </a:ext>
            </a:extLst>
          </p:cNvPr>
          <p:cNvSpPr>
            <a:spLocks noGrp="1"/>
          </p:cNvSpPr>
          <p:nvPr>
            <p:ph type="sldNum" sz="quarter" idx="4"/>
          </p:nvPr>
        </p:nvSpPr>
        <p:spPr>
          <a:xfrm>
            <a:off x="9936427" y="6648067"/>
            <a:ext cx="1632181" cy="182562"/>
          </a:xfrm>
        </p:spPr>
        <p:txBody>
          <a:bodyPr anchor="ctr">
            <a:normAutofit/>
          </a:bodyPr>
          <a:lstStyle/>
          <a:p>
            <a:pPr>
              <a:spcAft>
                <a:spcPts val="600"/>
              </a:spcAft>
              <a:defRPr/>
            </a:pPr>
            <a:fld id="{C7E30386-8DAC-4717-AC36-AAFF3D4F8F1C}" type="slidenum">
              <a:rPr lang="sl-SI" altLang="sl-SI" smtClean="0"/>
              <a:pPr>
                <a:spcAft>
                  <a:spcPts val="600"/>
                </a:spcAft>
                <a:defRPr/>
              </a:pPr>
              <a:t>11</a:t>
            </a:fld>
            <a:endParaRPr lang="sl-SI" altLang="sl-SI"/>
          </a:p>
        </p:txBody>
      </p:sp>
      <p:sp>
        <p:nvSpPr>
          <p:cNvPr id="3" name="TextBox 2">
            <a:extLst>
              <a:ext uri="{FF2B5EF4-FFF2-40B4-BE49-F238E27FC236}">
                <a16:creationId xmlns:a16="http://schemas.microsoft.com/office/drawing/2014/main" id="{71D0B696-63F4-3ADE-3682-75F357717C0E}"/>
              </a:ext>
            </a:extLst>
          </p:cNvPr>
          <p:cNvSpPr txBox="1"/>
          <p:nvPr/>
        </p:nvSpPr>
        <p:spPr>
          <a:xfrm>
            <a:off x="596272" y="175334"/>
            <a:ext cx="10972336" cy="523220"/>
          </a:xfrm>
          <a:prstGeom prst="rect">
            <a:avLst/>
          </a:prstGeom>
          <a:noFill/>
        </p:spPr>
        <p:txBody>
          <a:bodyPr wrap="square">
            <a:spAutoFit/>
          </a:bodyPr>
          <a:lstStyle/>
          <a:p>
            <a:r>
              <a:rPr lang="sl-SI" sz="2800" dirty="0">
                <a:solidFill>
                  <a:schemeClr val="accent1"/>
                </a:solidFill>
              </a:rPr>
              <a:t>4. Zeleno (trajnostno) financiranje</a:t>
            </a:r>
            <a:endParaRPr lang="en-GB" sz="2800" dirty="0"/>
          </a:p>
        </p:txBody>
      </p:sp>
      <p:sp>
        <p:nvSpPr>
          <p:cNvPr id="2" name="Rectangle 1">
            <a:extLst>
              <a:ext uri="{FF2B5EF4-FFF2-40B4-BE49-F238E27FC236}">
                <a16:creationId xmlns:a16="http://schemas.microsoft.com/office/drawing/2014/main" id="{86FD2ECB-AD2B-654C-AACB-06D4B238C0BB}"/>
              </a:ext>
            </a:extLst>
          </p:cNvPr>
          <p:cNvSpPr/>
          <p:nvPr/>
        </p:nvSpPr>
        <p:spPr>
          <a:xfrm>
            <a:off x="492906" y="1234638"/>
            <a:ext cx="11511563" cy="545406"/>
          </a:xfrm>
          <a:prstGeom prst="rect">
            <a:avLst/>
          </a:prstGeom>
        </p:spPr>
        <p:txBody>
          <a:bodyPr wrap="square" lIns="91440" tIns="45720" rIns="91440" bIns="45720" anchor="t">
            <a:spAutoFit/>
          </a:bodyPr>
          <a:lstStyle/>
          <a:p>
            <a:pPr marL="171450" marR="0" lvl="0" indent="-171450" algn="l" defTabSz="914400" rtl="0" eaLnBrk="1" fontAlgn="auto" latinLnBrk="0" hangingPunct="1">
              <a:lnSpc>
                <a:spcPct val="92000"/>
              </a:lnSpc>
              <a:spcBef>
                <a:spcPts val="0"/>
              </a:spcBef>
              <a:spcAft>
                <a:spcPts val="0"/>
              </a:spcAft>
              <a:buClrTx/>
              <a:buSzTx/>
              <a:buFont typeface="Wingdings" panose="05000000000000000000" pitchFamily="2" charset="2"/>
              <a:buChar char="§"/>
              <a:tabLst/>
              <a:defRPr/>
            </a:pPr>
            <a:r>
              <a:rPr kumimoji="0" lang="sl-SI" sz="16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Pri zelenem financiranju  energetske učinkovitosti nakupa in menjave oken so potrebne dodatne informacije o vrsti upravičenih vgrajenih oken, površini, viru ogrevanja ter ocenjenih vplivih na okolje </a:t>
            </a:r>
            <a:r>
              <a:rPr kumimoji="0" lang="sl-SI" sz="160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možno preveriti na EIB </a:t>
            </a:r>
            <a:r>
              <a:rPr kumimoji="0" lang="sl-SI" sz="1600" i="0" u="none" strike="noStrike" kern="1200" cap="none" spc="0" normalizeH="0" baseline="0" noProof="0" dirty="0" err="1">
                <a:ln>
                  <a:noFill/>
                </a:ln>
                <a:effectLst/>
                <a:uLnTx/>
                <a:uFillTx/>
                <a:latin typeface="Arial" panose="020B0604020202020204" pitchFamily="34" charset="0"/>
                <a:ea typeface="+mn-ea"/>
                <a:cs typeface="Arial" panose="020B0604020202020204" pitchFamily="34" charset="0"/>
              </a:rPr>
              <a:t>Checker</a:t>
            </a:r>
            <a:r>
              <a:rPr kumimoji="0" lang="sl-SI" sz="160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a:t>
            </a:r>
          </a:p>
        </p:txBody>
      </p:sp>
      <p:pic>
        <p:nvPicPr>
          <p:cNvPr id="9" name="Content Placeholder 8">
            <a:extLst>
              <a:ext uri="{FF2B5EF4-FFF2-40B4-BE49-F238E27FC236}">
                <a16:creationId xmlns:a16="http://schemas.microsoft.com/office/drawing/2014/main" id="{7905BC07-1893-38CB-91DE-B73BCCEFACF8}"/>
              </a:ext>
            </a:extLst>
          </p:cNvPr>
          <p:cNvPicPr>
            <a:picLocks noGrp="1" noChangeAspect="1"/>
          </p:cNvPicPr>
          <p:nvPr>
            <p:ph sz="half" idx="2"/>
          </p:nvPr>
        </p:nvPicPr>
        <p:blipFill>
          <a:blip r:embed="rId2"/>
          <a:stretch>
            <a:fillRect/>
          </a:stretch>
        </p:blipFill>
        <p:spPr>
          <a:xfrm>
            <a:off x="650875" y="2551510"/>
            <a:ext cx="3905250" cy="2636043"/>
          </a:xfrm>
          <a:prstGeom prst="rect">
            <a:avLst/>
          </a:prstGeom>
        </p:spPr>
      </p:pic>
      <p:graphicFrame>
        <p:nvGraphicFramePr>
          <p:cNvPr id="11" name="Content Placeholder 10">
            <a:extLst>
              <a:ext uri="{FF2B5EF4-FFF2-40B4-BE49-F238E27FC236}">
                <a16:creationId xmlns:a16="http://schemas.microsoft.com/office/drawing/2014/main" id="{D766698A-5A3D-E9E2-F674-BFEDC33037D0}"/>
              </a:ext>
            </a:extLst>
          </p:cNvPr>
          <p:cNvGraphicFramePr>
            <a:graphicFrameLocks noGrp="1"/>
          </p:cNvGraphicFramePr>
          <p:nvPr>
            <p:ph sz="half" idx="1"/>
            <p:extLst>
              <p:ext uri="{D42A27DB-BD31-4B8C-83A1-F6EECF244321}">
                <p14:modId xmlns:p14="http://schemas.microsoft.com/office/powerpoint/2010/main" val="1251558101"/>
              </p:ext>
            </p:extLst>
          </p:nvPr>
        </p:nvGraphicFramePr>
        <p:xfrm>
          <a:off x="4844404" y="1907913"/>
          <a:ext cx="6580188" cy="452741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3" name="TextBox 12">
            <a:extLst>
              <a:ext uri="{FF2B5EF4-FFF2-40B4-BE49-F238E27FC236}">
                <a16:creationId xmlns:a16="http://schemas.microsoft.com/office/drawing/2014/main" id="{55E4C09A-5238-EA9C-B068-88E6246F92C3}"/>
              </a:ext>
            </a:extLst>
          </p:cNvPr>
          <p:cNvSpPr txBox="1"/>
          <p:nvPr/>
        </p:nvSpPr>
        <p:spPr>
          <a:xfrm>
            <a:off x="767408" y="5438696"/>
            <a:ext cx="6094268" cy="369332"/>
          </a:xfrm>
          <a:prstGeom prst="rect">
            <a:avLst/>
          </a:prstGeom>
          <a:noFill/>
        </p:spPr>
        <p:txBody>
          <a:bodyPr wrap="square">
            <a:spAutoFit/>
          </a:bodyPr>
          <a:lstStyle/>
          <a:p>
            <a:r>
              <a:rPr lang="sl-SI" dirty="0">
                <a:hlinkClick r:id="rId8"/>
              </a:rPr>
              <a:t>EIB </a:t>
            </a:r>
            <a:r>
              <a:rPr lang="sl-SI" dirty="0" err="1">
                <a:hlinkClick r:id="rId8"/>
              </a:rPr>
              <a:t>Green</a:t>
            </a:r>
            <a:r>
              <a:rPr lang="sl-SI" dirty="0">
                <a:hlinkClick r:id="rId8"/>
              </a:rPr>
              <a:t> </a:t>
            </a:r>
            <a:r>
              <a:rPr lang="sl-SI" dirty="0" err="1">
                <a:hlinkClick r:id="rId8"/>
              </a:rPr>
              <a:t>Eligibility</a:t>
            </a:r>
            <a:r>
              <a:rPr lang="sl-SI" dirty="0">
                <a:hlinkClick r:id="rId8"/>
              </a:rPr>
              <a:t> </a:t>
            </a:r>
            <a:r>
              <a:rPr lang="sl-SI" dirty="0" err="1">
                <a:hlinkClick r:id="rId8"/>
              </a:rPr>
              <a:t>Checker</a:t>
            </a:r>
            <a:endParaRPr lang="en-GB" dirty="0"/>
          </a:p>
        </p:txBody>
      </p:sp>
    </p:spTree>
    <p:extLst>
      <p:ext uri="{BB962C8B-B14F-4D97-AF65-F5344CB8AC3E}">
        <p14:creationId xmlns:p14="http://schemas.microsoft.com/office/powerpoint/2010/main" val="23102949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AE52530-1909-41B7-B5E3-05D64DFD907D}"/>
              </a:ext>
            </a:extLst>
          </p:cNvPr>
          <p:cNvSpPr>
            <a:spLocks noGrp="1"/>
          </p:cNvSpPr>
          <p:nvPr>
            <p:ph type="title"/>
          </p:nvPr>
        </p:nvSpPr>
        <p:spPr>
          <a:xfrm>
            <a:off x="492905" y="470083"/>
            <a:ext cx="11511563" cy="638983"/>
          </a:xfrm>
        </p:spPr>
        <p:txBody>
          <a:bodyPr anchor="t">
            <a:noAutofit/>
          </a:bodyPr>
          <a:lstStyle/>
          <a:p>
            <a:pPr>
              <a:spcBef>
                <a:spcPts val="40"/>
              </a:spcBef>
            </a:pPr>
            <a:r>
              <a:rPr lang="sl-SI" sz="2000" dirty="0">
                <a:solidFill>
                  <a:schemeClr val="accent1"/>
                </a:solidFill>
                <a:latin typeface="+mn-lt"/>
                <a:ea typeface="+mn-ea"/>
                <a:cs typeface="+mn-cs"/>
              </a:rPr>
              <a:t>4.3.3 Primeri zelenega financiranja – energetska učinkovitost - zamenjava klimatskih naprav</a:t>
            </a:r>
            <a:endParaRPr lang="en-US" sz="2000" dirty="0">
              <a:solidFill>
                <a:schemeClr val="accent1"/>
              </a:solidFill>
              <a:latin typeface="+mn-lt"/>
              <a:ea typeface="+mn-ea"/>
              <a:cs typeface="+mn-cs"/>
            </a:endParaRPr>
          </a:p>
        </p:txBody>
      </p:sp>
      <p:sp>
        <p:nvSpPr>
          <p:cNvPr id="4" name="Slide Number Placeholder 3">
            <a:extLst>
              <a:ext uri="{FF2B5EF4-FFF2-40B4-BE49-F238E27FC236}">
                <a16:creationId xmlns:a16="http://schemas.microsoft.com/office/drawing/2014/main" id="{DC65D1B3-FFE3-4F4E-ACDC-5C67AA0DB6CA}"/>
              </a:ext>
            </a:extLst>
          </p:cNvPr>
          <p:cNvSpPr>
            <a:spLocks noGrp="1"/>
          </p:cNvSpPr>
          <p:nvPr>
            <p:ph type="sldNum" sz="quarter" idx="4"/>
          </p:nvPr>
        </p:nvSpPr>
        <p:spPr>
          <a:xfrm>
            <a:off x="9936427" y="6648067"/>
            <a:ext cx="1632181" cy="182562"/>
          </a:xfrm>
        </p:spPr>
        <p:txBody>
          <a:bodyPr anchor="ctr">
            <a:normAutofit/>
          </a:bodyPr>
          <a:lstStyle/>
          <a:p>
            <a:pPr>
              <a:spcAft>
                <a:spcPts val="600"/>
              </a:spcAft>
              <a:defRPr/>
            </a:pPr>
            <a:fld id="{C7E30386-8DAC-4717-AC36-AAFF3D4F8F1C}" type="slidenum">
              <a:rPr lang="sl-SI" altLang="sl-SI" smtClean="0"/>
              <a:pPr>
                <a:spcAft>
                  <a:spcPts val="600"/>
                </a:spcAft>
                <a:defRPr/>
              </a:pPr>
              <a:t>12</a:t>
            </a:fld>
            <a:endParaRPr lang="sl-SI" altLang="sl-SI"/>
          </a:p>
        </p:txBody>
      </p:sp>
      <p:sp>
        <p:nvSpPr>
          <p:cNvPr id="3" name="TextBox 2">
            <a:extLst>
              <a:ext uri="{FF2B5EF4-FFF2-40B4-BE49-F238E27FC236}">
                <a16:creationId xmlns:a16="http://schemas.microsoft.com/office/drawing/2014/main" id="{71D0B696-63F4-3ADE-3682-75F357717C0E}"/>
              </a:ext>
            </a:extLst>
          </p:cNvPr>
          <p:cNvSpPr txBox="1"/>
          <p:nvPr/>
        </p:nvSpPr>
        <p:spPr>
          <a:xfrm>
            <a:off x="596272" y="175334"/>
            <a:ext cx="10972336" cy="523220"/>
          </a:xfrm>
          <a:prstGeom prst="rect">
            <a:avLst/>
          </a:prstGeom>
          <a:noFill/>
        </p:spPr>
        <p:txBody>
          <a:bodyPr wrap="square">
            <a:spAutoFit/>
          </a:bodyPr>
          <a:lstStyle/>
          <a:p>
            <a:r>
              <a:rPr lang="sl-SI" sz="2800" dirty="0">
                <a:solidFill>
                  <a:schemeClr val="accent1"/>
                </a:solidFill>
              </a:rPr>
              <a:t>Zeleno (trajnostno) financiranje</a:t>
            </a:r>
            <a:endParaRPr lang="en-GB" sz="2800" dirty="0"/>
          </a:p>
        </p:txBody>
      </p:sp>
      <p:sp>
        <p:nvSpPr>
          <p:cNvPr id="2" name="Rectangle 1">
            <a:extLst>
              <a:ext uri="{FF2B5EF4-FFF2-40B4-BE49-F238E27FC236}">
                <a16:creationId xmlns:a16="http://schemas.microsoft.com/office/drawing/2014/main" id="{86FD2ECB-AD2B-654C-AACB-06D4B238C0BB}"/>
              </a:ext>
            </a:extLst>
          </p:cNvPr>
          <p:cNvSpPr/>
          <p:nvPr/>
        </p:nvSpPr>
        <p:spPr>
          <a:xfrm>
            <a:off x="492906" y="1234638"/>
            <a:ext cx="11511563" cy="545406"/>
          </a:xfrm>
          <a:prstGeom prst="rect">
            <a:avLst/>
          </a:prstGeom>
        </p:spPr>
        <p:txBody>
          <a:bodyPr wrap="square" lIns="91440" tIns="45720" rIns="91440" bIns="45720" anchor="t">
            <a:spAutoFit/>
          </a:bodyPr>
          <a:lstStyle/>
          <a:p>
            <a:pPr marL="171450" indent="-171450">
              <a:lnSpc>
                <a:spcPct val="92000"/>
              </a:lnSpc>
              <a:buFont typeface="Wingdings" panose="05000000000000000000" pitchFamily="2" charset="2"/>
              <a:buChar char="§"/>
              <a:defRPr/>
            </a:pPr>
            <a:r>
              <a:rPr kumimoji="0" lang="sl-SI" sz="16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Pri zelenem financiranju n</a:t>
            </a:r>
            <a:r>
              <a:rPr lang="sl-SI" sz="1600" b="1" noProof="0" dirty="0"/>
              <a:t>amestitev, vzdrževanja in popravila opreme za energetsko učinkovitost </a:t>
            </a:r>
            <a:r>
              <a:rPr kumimoji="0" lang="sl-SI" sz="16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zgradb zamenjava klimatskih naprav so potrebne dodatne informacije o vrsti investicije</a:t>
            </a:r>
          </a:p>
        </p:txBody>
      </p:sp>
      <p:sp>
        <p:nvSpPr>
          <p:cNvPr id="13" name="TextBox 12">
            <a:extLst>
              <a:ext uri="{FF2B5EF4-FFF2-40B4-BE49-F238E27FC236}">
                <a16:creationId xmlns:a16="http://schemas.microsoft.com/office/drawing/2014/main" id="{55E4C09A-5238-EA9C-B068-88E6246F92C3}"/>
              </a:ext>
            </a:extLst>
          </p:cNvPr>
          <p:cNvSpPr txBox="1"/>
          <p:nvPr/>
        </p:nvSpPr>
        <p:spPr>
          <a:xfrm>
            <a:off x="767408" y="5438696"/>
            <a:ext cx="6094268" cy="369332"/>
          </a:xfrm>
          <a:prstGeom prst="rect">
            <a:avLst/>
          </a:prstGeom>
          <a:noFill/>
        </p:spPr>
        <p:txBody>
          <a:bodyPr wrap="square">
            <a:spAutoFit/>
          </a:bodyPr>
          <a:lstStyle/>
          <a:p>
            <a:r>
              <a:rPr lang="sl-SI" dirty="0">
                <a:hlinkClick r:id="rId2"/>
              </a:rPr>
              <a:t>EIB </a:t>
            </a:r>
            <a:r>
              <a:rPr lang="sl-SI" dirty="0" err="1">
                <a:hlinkClick r:id="rId2"/>
              </a:rPr>
              <a:t>Green</a:t>
            </a:r>
            <a:r>
              <a:rPr lang="sl-SI" dirty="0">
                <a:hlinkClick r:id="rId2"/>
              </a:rPr>
              <a:t> </a:t>
            </a:r>
            <a:r>
              <a:rPr lang="sl-SI" dirty="0" err="1">
                <a:hlinkClick r:id="rId2"/>
              </a:rPr>
              <a:t>Eligibility</a:t>
            </a:r>
            <a:r>
              <a:rPr lang="sl-SI" dirty="0">
                <a:hlinkClick r:id="rId2"/>
              </a:rPr>
              <a:t> </a:t>
            </a:r>
            <a:r>
              <a:rPr lang="sl-SI" dirty="0" err="1">
                <a:hlinkClick r:id="rId2"/>
              </a:rPr>
              <a:t>Checker</a:t>
            </a:r>
            <a:endParaRPr lang="en-GB" dirty="0"/>
          </a:p>
        </p:txBody>
      </p:sp>
      <p:pic>
        <p:nvPicPr>
          <p:cNvPr id="15" name="Content Placeholder 14">
            <a:extLst>
              <a:ext uri="{FF2B5EF4-FFF2-40B4-BE49-F238E27FC236}">
                <a16:creationId xmlns:a16="http://schemas.microsoft.com/office/drawing/2014/main" id="{77E70FD0-B97C-CD14-6D4D-E7671D665984}"/>
              </a:ext>
            </a:extLst>
          </p:cNvPr>
          <p:cNvPicPr>
            <a:picLocks noGrp="1" noChangeAspect="1"/>
          </p:cNvPicPr>
          <p:nvPr>
            <p:ph sz="half" idx="2"/>
          </p:nvPr>
        </p:nvPicPr>
        <p:blipFill>
          <a:blip r:embed="rId3"/>
          <a:stretch>
            <a:fillRect/>
          </a:stretch>
        </p:blipFill>
        <p:spPr>
          <a:xfrm>
            <a:off x="650875" y="2551510"/>
            <a:ext cx="3905250" cy="2636043"/>
          </a:xfrm>
          <a:prstGeom prst="rect">
            <a:avLst/>
          </a:prstGeom>
        </p:spPr>
      </p:pic>
      <p:graphicFrame>
        <p:nvGraphicFramePr>
          <p:cNvPr id="14" name="Content Placeholder 13">
            <a:extLst>
              <a:ext uri="{FF2B5EF4-FFF2-40B4-BE49-F238E27FC236}">
                <a16:creationId xmlns:a16="http://schemas.microsoft.com/office/drawing/2014/main" id="{A5C26588-5E42-49DF-9779-49950864613A}"/>
              </a:ext>
            </a:extLst>
          </p:cNvPr>
          <p:cNvGraphicFramePr>
            <a:graphicFrameLocks noGrp="1"/>
          </p:cNvGraphicFramePr>
          <p:nvPr>
            <p:ph sz="half" idx="1"/>
          </p:nvPr>
        </p:nvGraphicFramePr>
        <p:xfrm>
          <a:off x="4943475" y="1780044"/>
          <a:ext cx="7060994" cy="486802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998366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AE52530-1909-41B7-B5E3-05D64DFD907D}"/>
              </a:ext>
            </a:extLst>
          </p:cNvPr>
          <p:cNvSpPr>
            <a:spLocks noGrp="1"/>
          </p:cNvSpPr>
          <p:nvPr>
            <p:ph type="title"/>
          </p:nvPr>
        </p:nvSpPr>
        <p:spPr>
          <a:xfrm>
            <a:off x="492906" y="470083"/>
            <a:ext cx="11131200" cy="638983"/>
          </a:xfrm>
        </p:spPr>
        <p:txBody>
          <a:bodyPr anchor="t">
            <a:noAutofit/>
          </a:bodyPr>
          <a:lstStyle/>
          <a:p>
            <a:pPr>
              <a:spcBef>
                <a:spcPts val="40"/>
              </a:spcBef>
            </a:pPr>
            <a:r>
              <a:rPr lang="sl-SI" sz="1800" dirty="0">
                <a:solidFill>
                  <a:schemeClr val="accent1"/>
                </a:solidFill>
                <a:latin typeface="+mn-lt"/>
                <a:ea typeface="+mn-ea"/>
                <a:cs typeface="+mn-cs"/>
              </a:rPr>
              <a:t>4.3.4 Primeri zelenega financiranja – Zbiranje in prevoz nevarnih odpadkov</a:t>
            </a:r>
            <a:endParaRPr lang="en-US" sz="1800" dirty="0">
              <a:solidFill>
                <a:schemeClr val="accent1"/>
              </a:solidFill>
              <a:latin typeface="+mn-lt"/>
              <a:ea typeface="+mn-ea"/>
              <a:cs typeface="+mn-cs"/>
            </a:endParaRPr>
          </a:p>
        </p:txBody>
      </p:sp>
      <p:sp>
        <p:nvSpPr>
          <p:cNvPr id="4" name="Slide Number Placeholder 3">
            <a:extLst>
              <a:ext uri="{FF2B5EF4-FFF2-40B4-BE49-F238E27FC236}">
                <a16:creationId xmlns:a16="http://schemas.microsoft.com/office/drawing/2014/main" id="{DC65D1B3-FFE3-4F4E-ACDC-5C67AA0DB6CA}"/>
              </a:ext>
            </a:extLst>
          </p:cNvPr>
          <p:cNvSpPr>
            <a:spLocks noGrp="1"/>
          </p:cNvSpPr>
          <p:nvPr>
            <p:ph type="sldNum" sz="quarter" idx="4"/>
          </p:nvPr>
        </p:nvSpPr>
        <p:spPr>
          <a:xfrm>
            <a:off x="9936427" y="6648067"/>
            <a:ext cx="1632181" cy="182562"/>
          </a:xfrm>
        </p:spPr>
        <p:txBody>
          <a:bodyPr anchor="ctr">
            <a:normAutofit/>
          </a:bodyPr>
          <a:lstStyle/>
          <a:p>
            <a:pPr>
              <a:spcAft>
                <a:spcPts val="600"/>
              </a:spcAft>
              <a:defRPr/>
            </a:pPr>
            <a:fld id="{C7E30386-8DAC-4717-AC36-AAFF3D4F8F1C}" type="slidenum">
              <a:rPr lang="sl-SI" altLang="sl-SI" smtClean="0"/>
              <a:pPr>
                <a:spcAft>
                  <a:spcPts val="600"/>
                </a:spcAft>
                <a:defRPr/>
              </a:pPr>
              <a:t>13</a:t>
            </a:fld>
            <a:endParaRPr lang="sl-SI" altLang="sl-SI"/>
          </a:p>
        </p:txBody>
      </p:sp>
      <p:sp>
        <p:nvSpPr>
          <p:cNvPr id="3" name="TextBox 2">
            <a:extLst>
              <a:ext uri="{FF2B5EF4-FFF2-40B4-BE49-F238E27FC236}">
                <a16:creationId xmlns:a16="http://schemas.microsoft.com/office/drawing/2014/main" id="{71D0B696-63F4-3ADE-3682-75F357717C0E}"/>
              </a:ext>
            </a:extLst>
          </p:cNvPr>
          <p:cNvSpPr txBox="1"/>
          <p:nvPr/>
        </p:nvSpPr>
        <p:spPr>
          <a:xfrm>
            <a:off x="596272" y="175334"/>
            <a:ext cx="10972336" cy="523220"/>
          </a:xfrm>
          <a:prstGeom prst="rect">
            <a:avLst/>
          </a:prstGeom>
          <a:noFill/>
        </p:spPr>
        <p:txBody>
          <a:bodyPr wrap="square">
            <a:spAutoFit/>
          </a:bodyPr>
          <a:lstStyle/>
          <a:p>
            <a:r>
              <a:rPr lang="sl-SI" sz="2800" dirty="0">
                <a:solidFill>
                  <a:schemeClr val="accent1"/>
                </a:solidFill>
              </a:rPr>
              <a:t>4. Zeleno (trajnostno) financiranje</a:t>
            </a:r>
            <a:endParaRPr lang="en-GB" sz="2800" dirty="0"/>
          </a:p>
        </p:txBody>
      </p:sp>
      <p:sp>
        <p:nvSpPr>
          <p:cNvPr id="2" name="Rectangle 1">
            <a:extLst>
              <a:ext uri="{FF2B5EF4-FFF2-40B4-BE49-F238E27FC236}">
                <a16:creationId xmlns:a16="http://schemas.microsoft.com/office/drawing/2014/main" id="{86FD2ECB-AD2B-654C-AACB-06D4B238C0BB}"/>
              </a:ext>
            </a:extLst>
          </p:cNvPr>
          <p:cNvSpPr/>
          <p:nvPr/>
        </p:nvSpPr>
        <p:spPr>
          <a:xfrm>
            <a:off x="492906" y="1234638"/>
            <a:ext cx="11511563" cy="545406"/>
          </a:xfrm>
          <a:prstGeom prst="rect">
            <a:avLst/>
          </a:prstGeom>
        </p:spPr>
        <p:txBody>
          <a:bodyPr wrap="square" lIns="91440" tIns="45720" rIns="91440" bIns="45720" anchor="t">
            <a:spAutoFit/>
          </a:bodyPr>
          <a:lstStyle/>
          <a:p>
            <a:pPr marL="171450" marR="0" lvl="0" indent="-171450" algn="l" defTabSz="914400" rtl="0" eaLnBrk="1" fontAlgn="auto" latinLnBrk="0" hangingPunct="1">
              <a:lnSpc>
                <a:spcPct val="92000"/>
              </a:lnSpc>
              <a:spcBef>
                <a:spcPts val="0"/>
              </a:spcBef>
              <a:spcAft>
                <a:spcPts val="0"/>
              </a:spcAft>
              <a:buClrTx/>
              <a:buSzTx/>
              <a:buFont typeface="Wingdings" panose="05000000000000000000" pitchFamily="2" charset="2"/>
              <a:buChar char="§"/>
              <a:tabLst/>
              <a:defRPr/>
            </a:pPr>
            <a:r>
              <a:rPr kumimoji="0" lang="sl-SI" sz="16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Pri zelenem financiranju  trajnostnega gospodarjenja z nevarnimi odpadki so pomembne dodatne informacije o ločenem zbiranju in prevozu nevarnih odpadkov namenjenih za ponovno uporabo in recikliranje</a:t>
            </a:r>
            <a:endParaRPr kumimoji="0" lang="sl-SI" sz="160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p:txBody>
      </p:sp>
      <p:graphicFrame>
        <p:nvGraphicFramePr>
          <p:cNvPr id="11" name="Content Placeholder 10">
            <a:extLst>
              <a:ext uri="{FF2B5EF4-FFF2-40B4-BE49-F238E27FC236}">
                <a16:creationId xmlns:a16="http://schemas.microsoft.com/office/drawing/2014/main" id="{D766698A-5A3D-E9E2-F674-BFEDC33037D0}"/>
              </a:ext>
            </a:extLst>
          </p:cNvPr>
          <p:cNvGraphicFramePr>
            <a:graphicFrameLocks noGrp="1"/>
          </p:cNvGraphicFramePr>
          <p:nvPr>
            <p:ph sz="half" idx="1"/>
            <p:extLst>
              <p:ext uri="{D42A27DB-BD31-4B8C-83A1-F6EECF244321}">
                <p14:modId xmlns:p14="http://schemas.microsoft.com/office/powerpoint/2010/main" val="2886412356"/>
              </p:ext>
            </p:extLst>
          </p:nvPr>
        </p:nvGraphicFramePr>
        <p:xfrm>
          <a:off x="4844404" y="1907913"/>
          <a:ext cx="6580188" cy="452741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8" name="Content Placeholder 7">
            <a:extLst>
              <a:ext uri="{FF2B5EF4-FFF2-40B4-BE49-F238E27FC236}">
                <a16:creationId xmlns:a16="http://schemas.microsoft.com/office/drawing/2014/main" id="{B7F6C8DA-D81E-B817-F10F-78D78A07C24B}"/>
              </a:ext>
            </a:extLst>
          </p:cNvPr>
          <p:cNvPicPr>
            <a:picLocks noGrp="1" noChangeAspect="1"/>
          </p:cNvPicPr>
          <p:nvPr>
            <p:ph sz="half" idx="2"/>
          </p:nvPr>
        </p:nvPicPr>
        <p:blipFill>
          <a:blip r:embed="rId7"/>
          <a:stretch>
            <a:fillRect/>
          </a:stretch>
        </p:blipFill>
        <p:spPr>
          <a:xfrm>
            <a:off x="650875" y="2568798"/>
            <a:ext cx="3905250" cy="2601466"/>
          </a:xfrm>
          <a:prstGeom prst="rect">
            <a:avLst/>
          </a:prstGeom>
        </p:spPr>
      </p:pic>
    </p:spTree>
    <p:extLst>
      <p:ext uri="{BB962C8B-B14F-4D97-AF65-F5344CB8AC3E}">
        <p14:creationId xmlns:p14="http://schemas.microsoft.com/office/powerpoint/2010/main" val="33548729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AE52530-1909-41B7-B5E3-05D64DFD907D}"/>
              </a:ext>
            </a:extLst>
          </p:cNvPr>
          <p:cNvSpPr>
            <a:spLocks noGrp="1"/>
          </p:cNvSpPr>
          <p:nvPr>
            <p:ph type="title"/>
          </p:nvPr>
        </p:nvSpPr>
        <p:spPr>
          <a:xfrm>
            <a:off x="492906" y="470083"/>
            <a:ext cx="11131200" cy="638983"/>
          </a:xfrm>
        </p:spPr>
        <p:txBody>
          <a:bodyPr anchor="t">
            <a:noAutofit/>
          </a:bodyPr>
          <a:lstStyle/>
          <a:p>
            <a:pPr>
              <a:spcBef>
                <a:spcPts val="40"/>
              </a:spcBef>
            </a:pPr>
            <a:r>
              <a:rPr lang="sl-SI" sz="1800" dirty="0">
                <a:solidFill>
                  <a:schemeClr val="accent1"/>
                </a:solidFill>
                <a:latin typeface="+mn-lt"/>
                <a:ea typeface="+mn-ea"/>
                <a:cs typeface="+mn-cs"/>
              </a:rPr>
              <a:t>4.3.5 Primeri zelenega financiranja – Predelava snovi iz nevarnih odpadkov</a:t>
            </a:r>
            <a:endParaRPr lang="en-US" sz="1800" dirty="0">
              <a:solidFill>
                <a:schemeClr val="accent1"/>
              </a:solidFill>
              <a:latin typeface="+mn-lt"/>
              <a:ea typeface="+mn-ea"/>
              <a:cs typeface="+mn-cs"/>
            </a:endParaRPr>
          </a:p>
        </p:txBody>
      </p:sp>
      <p:sp>
        <p:nvSpPr>
          <p:cNvPr id="4" name="Slide Number Placeholder 3">
            <a:extLst>
              <a:ext uri="{FF2B5EF4-FFF2-40B4-BE49-F238E27FC236}">
                <a16:creationId xmlns:a16="http://schemas.microsoft.com/office/drawing/2014/main" id="{DC65D1B3-FFE3-4F4E-ACDC-5C67AA0DB6CA}"/>
              </a:ext>
            </a:extLst>
          </p:cNvPr>
          <p:cNvSpPr>
            <a:spLocks noGrp="1"/>
          </p:cNvSpPr>
          <p:nvPr>
            <p:ph type="sldNum" sz="quarter" idx="4"/>
          </p:nvPr>
        </p:nvSpPr>
        <p:spPr>
          <a:xfrm>
            <a:off x="9936427" y="6648067"/>
            <a:ext cx="1632181" cy="182562"/>
          </a:xfrm>
        </p:spPr>
        <p:txBody>
          <a:bodyPr anchor="ctr">
            <a:normAutofit/>
          </a:bodyPr>
          <a:lstStyle/>
          <a:p>
            <a:pPr>
              <a:spcAft>
                <a:spcPts val="600"/>
              </a:spcAft>
              <a:defRPr/>
            </a:pPr>
            <a:fld id="{C7E30386-8DAC-4717-AC36-AAFF3D4F8F1C}" type="slidenum">
              <a:rPr lang="sl-SI" altLang="sl-SI" smtClean="0"/>
              <a:pPr>
                <a:spcAft>
                  <a:spcPts val="600"/>
                </a:spcAft>
                <a:defRPr/>
              </a:pPr>
              <a:t>14</a:t>
            </a:fld>
            <a:endParaRPr lang="sl-SI" altLang="sl-SI"/>
          </a:p>
        </p:txBody>
      </p:sp>
      <p:sp>
        <p:nvSpPr>
          <p:cNvPr id="3" name="TextBox 2">
            <a:extLst>
              <a:ext uri="{FF2B5EF4-FFF2-40B4-BE49-F238E27FC236}">
                <a16:creationId xmlns:a16="http://schemas.microsoft.com/office/drawing/2014/main" id="{71D0B696-63F4-3ADE-3682-75F357717C0E}"/>
              </a:ext>
            </a:extLst>
          </p:cNvPr>
          <p:cNvSpPr txBox="1"/>
          <p:nvPr/>
        </p:nvSpPr>
        <p:spPr>
          <a:xfrm>
            <a:off x="596272" y="175334"/>
            <a:ext cx="10972336" cy="523220"/>
          </a:xfrm>
          <a:prstGeom prst="rect">
            <a:avLst/>
          </a:prstGeom>
          <a:noFill/>
        </p:spPr>
        <p:txBody>
          <a:bodyPr wrap="square">
            <a:spAutoFit/>
          </a:bodyPr>
          <a:lstStyle/>
          <a:p>
            <a:r>
              <a:rPr lang="sl-SI" sz="2800" dirty="0">
                <a:solidFill>
                  <a:schemeClr val="accent1"/>
                </a:solidFill>
              </a:rPr>
              <a:t>4. Zeleno (trajnostno) financiranje</a:t>
            </a:r>
            <a:endParaRPr lang="en-GB" sz="2800" dirty="0"/>
          </a:p>
        </p:txBody>
      </p:sp>
      <p:sp>
        <p:nvSpPr>
          <p:cNvPr id="2" name="Rectangle 1">
            <a:extLst>
              <a:ext uri="{FF2B5EF4-FFF2-40B4-BE49-F238E27FC236}">
                <a16:creationId xmlns:a16="http://schemas.microsoft.com/office/drawing/2014/main" id="{86FD2ECB-AD2B-654C-AACB-06D4B238C0BB}"/>
              </a:ext>
            </a:extLst>
          </p:cNvPr>
          <p:cNvSpPr/>
          <p:nvPr/>
        </p:nvSpPr>
        <p:spPr>
          <a:xfrm>
            <a:off x="492906" y="1234638"/>
            <a:ext cx="11511563" cy="545406"/>
          </a:xfrm>
          <a:prstGeom prst="rect">
            <a:avLst/>
          </a:prstGeom>
        </p:spPr>
        <p:txBody>
          <a:bodyPr wrap="square" lIns="91440" tIns="45720" rIns="91440" bIns="45720" anchor="t">
            <a:spAutoFit/>
          </a:bodyPr>
          <a:lstStyle/>
          <a:p>
            <a:pPr marL="171450" marR="0" lvl="0" indent="-171450" algn="l" defTabSz="914400" rtl="0" eaLnBrk="1" fontAlgn="auto" latinLnBrk="0" hangingPunct="1">
              <a:lnSpc>
                <a:spcPct val="92000"/>
              </a:lnSpc>
              <a:spcBef>
                <a:spcPts val="0"/>
              </a:spcBef>
              <a:spcAft>
                <a:spcPts val="0"/>
              </a:spcAft>
              <a:buClrTx/>
              <a:buSzTx/>
              <a:buFont typeface="Wingdings" panose="05000000000000000000" pitchFamily="2" charset="2"/>
              <a:buChar char="§"/>
              <a:tabLst/>
              <a:defRPr/>
            </a:pPr>
            <a:r>
              <a:rPr kumimoji="0" lang="sl-SI" sz="16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Pri zelenem financiranju  predelave snovi iz nevarnih odpadkov so pomembne dodatne informacije o deležu predelanih ločeno zbranih nevarnih odpadkov (nadomeščanje primarnih materialov v proizvodnji)</a:t>
            </a:r>
            <a:endParaRPr kumimoji="0" lang="sl-SI" sz="160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p:txBody>
      </p:sp>
      <p:graphicFrame>
        <p:nvGraphicFramePr>
          <p:cNvPr id="11" name="Content Placeholder 10">
            <a:extLst>
              <a:ext uri="{FF2B5EF4-FFF2-40B4-BE49-F238E27FC236}">
                <a16:creationId xmlns:a16="http://schemas.microsoft.com/office/drawing/2014/main" id="{D766698A-5A3D-E9E2-F674-BFEDC33037D0}"/>
              </a:ext>
            </a:extLst>
          </p:cNvPr>
          <p:cNvGraphicFramePr>
            <a:graphicFrameLocks noGrp="1"/>
          </p:cNvGraphicFramePr>
          <p:nvPr>
            <p:ph sz="half" idx="1"/>
            <p:extLst>
              <p:ext uri="{D42A27DB-BD31-4B8C-83A1-F6EECF244321}">
                <p14:modId xmlns:p14="http://schemas.microsoft.com/office/powerpoint/2010/main" val="491911671"/>
              </p:ext>
            </p:extLst>
          </p:nvPr>
        </p:nvGraphicFramePr>
        <p:xfrm>
          <a:off x="4844404" y="1907913"/>
          <a:ext cx="6580188" cy="452741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0" name="Content Placeholder 9">
            <a:extLst>
              <a:ext uri="{FF2B5EF4-FFF2-40B4-BE49-F238E27FC236}">
                <a16:creationId xmlns:a16="http://schemas.microsoft.com/office/drawing/2014/main" id="{C627A361-A64F-FE18-6B14-B2FFF2617A8A}"/>
              </a:ext>
            </a:extLst>
          </p:cNvPr>
          <p:cNvPicPr>
            <a:picLocks noGrp="1" noChangeAspect="1"/>
          </p:cNvPicPr>
          <p:nvPr>
            <p:ph sz="half" idx="2"/>
          </p:nvPr>
        </p:nvPicPr>
        <p:blipFill>
          <a:blip r:embed="rId7"/>
          <a:stretch>
            <a:fillRect/>
          </a:stretch>
        </p:blipFill>
        <p:spPr>
          <a:xfrm>
            <a:off x="650875" y="2877964"/>
            <a:ext cx="3905250" cy="1983134"/>
          </a:xfrm>
          <a:prstGeom prst="rect">
            <a:avLst/>
          </a:prstGeom>
        </p:spPr>
      </p:pic>
      <p:sp>
        <p:nvSpPr>
          <p:cNvPr id="7" name="TextBox 6">
            <a:extLst>
              <a:ext uri="{FF2B5EF4-FFF2-40B4-BE49-F238E27FC236}">
                <a16:creationId xmlns:a16="http://schemas.microsoft.com/office/drawing/2014/main" id="{FA35C608-BEB1-3850-0A8D-59511B9263A2}"/>
              </a:ext>
            </a:extLst>
          </p:cNvPr>
          <p:cNvSpPr txBox="1"/>
          <p:nvPr/>
        </p:nvSpPr>
        <p:spPr>
          <a:xfrm>
            <a:off x="846069" y="5093225"/>
            <a:ext cx="3514862" cy="646331"/>
          </a:xfrm>
          <a:prstGeom prst="rect">
            <a:avLst/>
          </a:prstGeom>
          <a:noFill/>
        </p:spPr>
        <p:txBody>
          <a:bodyPr wrap="square">
            <a:spAutoFit/>
          </a:bodyPr>
          <a:lstStyle/>
          <a:p>
            <a:r>
              <a:rPr lang="en-US" dirty="0">
                <a:hlinkClick r:id="rId8"/>
              </a:rPr>
              <a:t>Material recovery from non-hazardous waste (europa.eu)</a:t>
            </a:r>
            <a:endParaRPr lang="en-GB" dirty="0"/>
          </a:p>
        </p:txBody>
      </p:sp>
    </p:spTree>
    <p:extLst>
      <p:ext uri="{BB962C8B-B14F-4D97-AF65-F5344CB8AC3E}">
        <p14:creationId xmlns:p14="http://schemas.microsoft.com/office/powerpoint/2010/main" val="14673722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4E4FABFB-D960-4827-A99E-1FF56FC4539E}" type="slidenum">
              <a:rPr lang="sl-SI" noProof="0" smtClean="0"/>
              <a:pPr/>
              <a:t>15</a:t>
            </a:fld>
            <a:endParaRPr lang="sl-SI" noProof="0" dirty="0"/>
          </a:p>
        </p:txBody>
      </p:sp>
      <p:pic>
        <p:nvPicPr>
          <p:cNvPr id="6" name="Picture Placeholder 5"/>
          <p:cNvPicPr>
            <a:picLocks noGrp="1" noChangeAspect="1"/>
          </p:cNvPicPr>
          <p:nvPr>
            <p:ph type="pic" sz="quarter" idx="10"/>
          </p:nvPr>
        </p:nvPicPr>
        <p:blipFill>
          <a:blip r:embed="rId2">
            <a:extLst>
              <a:ext uri="{28A0092B-C50C-407E-A947-70E740481C1C}">
                <a14:useLocalDpi xmlns:a14="http://schemas.microsoft.com/office/drawing/2010/main" val="0"/>
              </a:ext>
            </a:extLst>
          </a:blip>
          <a:stretch>
            <a:fillRect/>
          </a:stretch>
        </p:blipFill>
        <p:spPr>
          <a:xfrm>
            <a:off x="0" y="-91255"/>
            <a:ext cx="12193200" cy="7039667"/>
          </a:xfrm>
        </p:spPr>
      </p:pic>
      <p:sp>
        <p:nvSpPr>
          <p:cNvPr id="2" name="Title 4">
            <a:extLst>
              <a:ext uri="{FF2B5EF4-FFF2-40B4-BE49-F238E27FC236}">
                <a16:creationId xmlns:a16="http://schemas.microsoft.com/office/drawing/2014/main" id="{AFD07043-272F-87C0-8987-45A7AF49ACC5}"/>
              </a:ext>
            </a:extLst>
          </p:cNvPr>
          <p:cNvSpPr txBox="1">
            <a:spLocks/>
          </p:cNvSpPr>
          <p:nvPr/>
        </p:nvSpPr>
        <p:spPr>
          <a:xfrm>
            <a:off x="5186917" y="188640"/>
            <a:ext cx="6813739" cy="1368000"/>
          </a:xfrm>
          <a:prstGeom prst="rect">
            <a:avLst/>
          </a:prstGeom>
        </p:spPr>
        <p:txBody>
          <a:bodyPr/>
          <a:lstStyle>
            <a:lvl1pPr algn="l" defTabSz="914400" rtl="0" eaLnBrk="1" latinLnBrk="0" hangingPunct="1">
              <a:lnSpc>
                <a:spcPts val="4800"/>
              </a:lnSpc>
              <a:spcBef>
                <a:spcPct val="0"/>
              </a:spcBef>
              <a:buNone/>
              <a:defRPr sz="4400" kern="1200">
                <a:solidFill>
                  <a:schemeClr val="tx1"/>
                </a:solidFill>
                <a:latin typeface="+mj-lt"/>
                <a:ea typeface="+mj-ea"/>
                <a:cs typeface="+mj-cs"/>
              </a:defRPr>
            </a:lvl1pPr>
          </a:lstStyle>
          <a:p>
            <a:r>
              <a:rPr lang="sl-SI" dirty="0">
                <a:solidFill>
                  <a:schemeClr val="accent1"/>
                </a:solidFill>
              </a:rPr>
              <a:t>Vprašanja in komentarji</a:t>
            </a:r>
            <a:r>
              <a:rPr lang="en-GB" dirty="0">
                <a:solidFill>
                  <a:schemeClr val="accent1"/>
                </a:solidFill>
              </a:rPr>
              <a:t>?</a:t>
            </a:r>
            <a:endParaRPr lang="en-GB" sz="3200" dirty="0">
              <a:solidFill>
                <a:schemeClr val="accent1"/>
              </a:solidFill>
            </a:endParaRPr>
          </a:p>
        </p:txBody>
      </p:sp>
      <p:sp>
        <p:nvSpPr>
          <p:cNvPr id="3" name="Title 4">
            <a:extLst>
              <a:ext uri="{FF2B5EF4-FFF2-40B4-BE49-F238E27FC236}">
                <a16:creationId xmlns:a16="http://schemas.microsoft.com/office/drawing/2014/main" id="{3EC13A31-9282-2D53-B216-BA8F2B7F1537}"/>
              </a:ext>
            </a:extLst>
          </p:cNvPr>
          <p:cNvSpPr txBox="1">
            <a:spLocks/>
          </p:cNvSpPr>
          <p:nvPr/>
        </p:nvSpPr>
        <p:spPr>
          <a:xfrm>
            <a:off x="4871864" y="5127472"/>
            <a:ext cx="6813739" cy="1368000"/>
          </a:xfrm>
          <a:prstGeom prst="rect">
            <a:avLst/>
          </a:prstGeom>
        </p:spPr>
        <p:txBody>
          <a:bodyPr/>
          <a:lstStyle>
            <a:lvl1pPr algn="l" defTabSz="914400" rtl="0" eaLnBrk="1" latinLnBrk="0" hangingPunct="1">
              <a:lnSpc>
                <a:spcPts val="4800"/>
              </a:lnSpc>
              <a:spcBef>
                <a:spcPct val="0"/>
              </a:spcBef>
              <a:buNone/>
              <a:defRPr sz="4400" kern="1200">
                <a:solidFill>
                  <a:schemeClr val="tx1"/>
                </a:solidFill>
                <a:latin typeface="+mj-lt"/>
                <a:ea typeface="+mj-ea"/>
                <a:cs typeface="+mj-cs"/>
              </a:defRPr>
            </a:lvl1pPr>
          </a:lstStyle>
          <a:p>
            <a:pPr algn="ctr"/>
            <a:r>
              <a:rPr lang="sl-SI" dirty="0">
                <a:solidFill>
                  <a:schemeClr val="accent1"/>
                </a:solidFill>
              </a:rPr>
              <a:t>Hvala</a:t>
            </a:r>
            <a:endParaRPr lang="en-GB" sz="3200" dirty="0">
              <a:solidFill>
                <a:schemeClr val="accent1"/>
              </a:solidFill>
            </a:endParaRPr>
          </a:p>
        </p:txBody>
      </p:sp>
    </p:spTree>
    <p:extLst>
      <p:ext uri="{BB962C8B-B14F-4D97-AF65-F5344CB8AC3E}">
        <p14:creationId xmlns:p14="http://schemas.microsoft.com/office/powerpoint/2010/main" val="29383195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659747" y="5666770"/>
            <a:ext cx="10080000" cy="360363"/>
          </a:xfrm>
        </p:spPr>
        <p:txBody>
          <a:bodyPr/>
          <a:lstStyle/>
          <a:p>
            <a:r>
              <a:rPr lang="sl-SI" sz="1600" dirty="0">
                <a:solidFill>
                  <a:schemeClr val="accent1"/>
                </a:solidFill>
                <a:latin typeface="+mn-lt"/>
                <a:ea typeface="+mn-ea"/>
                <a:cs typeface="+mn-cs"/>
              </a:rPr>
              <a:t>4.3.5 Primeri zelenega financiranja – Predelava snovi iz nevarnih odpadkov</a:t>
            </a:r>
            <a:endParaRPr lang="sl-SI" dirty="0"/>
          </a:p>
        </p:txBody>
      </p:sp>
      <p:sp>
        <p:nvSpPr>
          <p:cNvPr id="3" name="Text Placeholder 2"/>
          <p:cNvSpPr>
            <a:spLocks noGrp="1"/>
          </p:cNvSpPr>
          <p:nvPr>
            <p:ph type="body" sz="quarter" idx="10"/>
          </p:nvPr>
        </p:nvSpPr>
        <p:spPr>
          <a:xfrm>
            <a:off x="642454" y="1130349"/>
            <a:ext cx="10080000" cy="360363"/>
          </a:xfrm>
        </p:spPr>
        <p:txBody>
          <a:bodyPr/>
          <a:lstStyle/>
          <a:p>
            <a:r>
              <a:rPr lang="sl-SI" sz="1800" dirty="0">
                <a:solidFill>
                  <a:schemeClr val="accent1"/>
                </a:solidFill>
              </a:rPr>
              <a:t>1. Pot trajnostnega razvoja v NLB Skupini</a:t>
            </a:r>
            <a:endParaRPr lang="sl-SI" sz="1800" dirty="0"/>
          </a:p>
        </p:txBody>
      </p:sp>
      <p:sp>
        <p:nvSpPr>
          <p:cNvPr id="4" name="Title 3"/>
          <p:cNvSpPr>
            <a:spLocks noGrp="1"/>
          </p:cNvSpPr>
          <p:nvPr>
            <p:ph type="title"/>
          </p:nvPr>
        </p:nvSpPr>
        <p:spPr/>
        <p:txBody>
          <a:bodyPr/>
          <a:lstStyle/>
          <a:p>
            <a:r>
              <a:rPr lang="sl-SI" dirty="0"/>
              <a:t>Vsebina</a:t>
            </a:r>
          </a:p>
        </p:txBody>
      </p:sp>
      <p:sp>
        <p:nvSpPr>
          <p:cNvPr id="5" name="Text Placeholder 4"/>
          <p:cNvSpPr>
            <a:spLocks noGrp="1"/>
          </p:cNvSpPr>
          <p:nvPr>
            <p:ph type="body" sz="quarter" idx="11"/>
          </p:nvPr>
        </p:nvSpPr>
        <p:spPr>
          <a:xfrm>
            <a:off x="642454" y="1549262"/>
            <a:ext cx="10080000" cy="360363"/>
          </a:xfrm>
        </p:spPr>
        <p:txBody>
          <a:bodyPr/>
          <a:lstStyle/>
          <a:p>
            <a:r>
              <a:rPr lang="sl-SI" sz="1800" dirty="0">
                <a:solidFill>
                  <a:schemeClr val="accent1"/>
                </a:solidFill>
              </a:rPr>
              <a:t>2. Pregled trajnostne strategije </a:t>
            </a:r>
            <a:r>
              <a:rPr lang="en-US" sz="1800" dirty="0">
                <a:solidFill>
                  <a:schemeClr val="accent1"/>
                </a:solidFill>
              </a:rPr>
              <a:t>NLB</a:t>
            </a:r>
            <a:r>
              <a:rPr lang="sl-SI" sz="1800" dirty="0">
                <a:solidFill>
                  <a:schemeClr val="accent1"/>
                </a:solidFill>
              </a:rPr>
              <a:t> Skupine</a:t>
            </a:r>
            <a:endParaRPr lang="sl-SI" sz="1800" dirty="0"/>
          </a:p>
        </p:txBody>
      </p:sp>
      <p:sp>
        <p:nvSpPr>
          <p:cNvPr id="6" name="Text Placeholder 5"/>
          <p:cNvSpPr>
            <a:spLocks noGrp="1"/>
          </p:cNvSpPr>
          <p:nvPr>
            <p:ph type="body" sz="quarter" idx="13"/>
          </p:nvPr>
        </p:nvSpPr>
        <p:spPr>
          <a:xfrm>
            <a:off x="642454" y="1968177"/>
            <a:ext cx="10080000" cy="360363"/>
          </a:xfrm>
        </p:spPr>
        <p:txBody>
          <a:bodyPr/>
          <a:lstStyle/>
          <a:p>
            <a:r>
              <a:rPr lang="sl-SI" sz="1800" dirty="0">
                <a:solidFill>
                  <a:schemeClr val="accent1"/>
                </a:solidFill>
              </a:rPr>
              <a:t>3. Zaveza načelom OZN za odgovorno bančništvo</a:t>
            </a:r>
            <a:endParaRPr lang="sl-SI" sz="1800" dirty="0"/>
          </a:p>
        </p:txBody>
      </p:sp>
      <p:sp>
        <p:nvSpPr>
          <p:cNvPr id="7" name="Text Placeholder 6"/>
          <p:cNvSpPr>
            <a:spLocks noGrp="1"/>
          </p:cNvSpPr>
          <p:nvPr>
            <p:ph type="body" sz="quarter" idx="14"/>
          </p:nvPr>
        </p:nvSpPr>
        <p:spPr>
          <a:xfrm>
            <a:off x="642454" y="2387091"/>
            <a:ext cx="10080000" cy="360363"/>
          </a:xfrm>
        </p:spPr>
        <p:txBody>
          <a:bodyPr/>
          <a:lstStyle/>
          <a:p>
            <a:r>
              <a:rPr lang="sl-SI" sz="1800" dirty="0">
                <a:solidFill>
                  <a:schemeClr val="accent1"/>
                </a:solidFill>
              </a:rPr>
              <a:t>4. Zeleno (trajnostno) financiranje</a:t>
            </a:r>
            <a:endParaRPr lang="sl-SI" sz="1800" dirty="0"/>
          </a:p>
        </p:txBody>
      </p:sp>
      <p:sp>
        <p:nvSpPr>
          <p:cNvPr id="8" name="Text Placeholder 7"/>
          <p:cNvSpPr>
            <a:spLocks noGrp="1"/>
          </p:cNvSpPr>
          <p:nvPr>
            <p:ph type="body" sz="quarter" idx="15"/>
          </p:nvPr>
        </p:nvSpPr>
        <p:spPr>
          <a:xfrm>
            <a:off x="642454" y="3233702"/>
            <a:ext cx="10080000" cy="360363"/>
          </a:xfrm>
        </p:spPr>
        <p:txBody>
          <a:bodyPr/>
          <a:lstStyle/>
          <a:p>
            <a:r>
              <a:rPr lang="sl-SI" sz="1800" dirty="0">
                <a:solidFill>
                  <a:schemeClr val="accent1"/>
                </a:solidFill>
              </a:rPr>
              <a:t>4.2. Zeleni nameni posojil in vrste investicij</a:t>
            </a:r>
          </a:p>
        </p:txBody>
      </p:sp>
      <p:sp>
        <p:nvSpPr>
          <p:cNvPr id="9" name="Text Placeholder 8"/>
          <p:cNvSpPr>
            <a:spLocks noGrp="1"/>
          </p:cNvSpPr>
          <p:nvPr>
            <p:ph type="body" sz="quarter" idx="16"/>
          </p:nvPr>
        </p:nvSpPr>
        <p:spPr>
          <a:xfrm>
            <a:off x="642454" y="3661402"/>
            <a:ext cx="10080000" cy="360363"/>
          </a:xfrm>
        </p:spPr>
        <p:txBody>
          <a:bodyPr/>
          <a:lstStyle/>
          <a:p>
            <a:r>
              <a:rPr lang="sl-SI" sz="1800" dirty="0">
                <a:solidFill>
                  <a:schemeClr val="accent1"/>
                </a:solidFill>
              </a:rPr>
              <a:t>4.3. Zeleno financiranje v praksi</a:t>
            </a:r>
          </a:p>
        </p:txBody>
      </p:sp>
      <p:sp>
        <p:nvSpPr>
          <p:cNvPr id="10" name="Text Placeholder 9"/>
          <p:cNvSpPr>
            <a:spLocks noGrp="1"/>
          </p:cNvSpPr>
          <p:nvPr>
            <p:ph type="body" sz="quarter" idx="17"/>
          </p:nvPr>
        </p:nvSpPr>
        <p:spPr>
          <a:xfrm>
            <a:off x="642454" y="4080316"/>
            <a:ext cx="10080000" cy="360363"/>
          </a:xfrm>
        </p:spPr>
        <p:txBody>
          <a:bodyPr/>
          <a:lstStyle/>
          <a:p>
            <a:r>
              <a:rPr lang="sl-SI" sz="1600" dirty="0">
                <a:solidFill>
                  <a:schemeClr val="accent1"/>
                </a:solidFill>
                <a:latin typeface="+mn-lt"/>
                <a:ea typeface="+mn-ea"/>
                <a:cs typeface="+mn-cs"/>
              </a:rPr>
              <a:t>4.3.1 Primeri zelenega financiranja – sončna elektrarna</a:t>
            </a:r>
            <a:endParaRPr lang="sl-SI" dirty="0">
              <a:solidFill>
                <a:schemeClr val="accent1"/>
              </a:solidFill>
            </a:endParaRPr>
          </a:p>
        </p:txBody>
      </p:sp>
      <p:sp>
        <p:nvSpPr>
          <p:cNvPr id="11" name="Text Placeholder 10"/>
          <p:cNvSpPr>
            <a:spLocks noGrp="1"/>
          </p:cNvSpPr>
          <p:nvPr>
            <p:ph type="body" sz="quarter" idx="18"/>
          </p:nvPr>
        </p:nvSpPr>
        <p:spPr>
          <a:xfrm>
            <a:off x="649131" y="4461170"/>
            <a:ext cx="10080000" cy="360363"/>
          </a:xfrm>
        </p:spPr>
        <p:txBody>
          <a:bodyPr/>
          <a:lstStyle/>
          <a:p>
            <a:r>
              <a:rPr lang="sl-SI" sz="1600" dirty="0">
                <a:solidFill>
                  <a:schemeClr val="accent1"/>
                </a:solidFill>
                <a:latin typeface="+mn-lt"/>
                <a:ea typeface="+mn-ea"/>
                <a:cs typeface="+mn-cs"/>
              </a:rPr>
              <a:t>4.3.2 Primeri zelenega financiranja – energetska učinkovitost – nakup in menjava oken</a:t>
            </a:r>
            <a:endParaRPr lang="sl-SI" dirty="0">
              <a:solidFill>
                <a:schemeClr val="accent1"/>
              </a:solidFill>
            </a:endParaRPr>
          </a:p>
        </p:txBody>
      </p:sp>
      <p:sp>
        <p:nvSpPr>
          <p:cNvPr id="12" name="Text Placeholder 11"/>
          <p:cNvSpPr>
            <a:spLocks noGrp="1"/>
          </p:cNvSpPr>
          <p:nvPr>
            <p:ph type="body" sz="quarter" idx="19"/>
          </p:nvPr>
        </p:nvSpPr>
        <p:spPr>
          <a:xfrm>
            <a:off x="642454" y="2798942"/>
            <a:ext cx="10080000" cy="360363"/>
          </a:xfrm>
        </p:spPr>
        <p:txBody>
          <a:bodyPr/>
          <a:lstStyle/>
          <a:p>
            <a:r>
              <a:rPr lang="sl-SI" sz="1600" dirty="0">
                <a:solidFill>
                  <a:schemeClr val="accent1"/>
                </a:solidFill>
                <a:latin typeface="+mn-lt"/>
                <a:ea typeface="+mn-ea"/>
                <a:cs typeface="+mn-cs"/>
              </a:rPr>
              <a:t>4.1. EU Taksonomija – sistem določitve trajnostnih naložb/dejavnosti</a:t>
            </a:r>
            <a:endParaRPr lang="en-US" sz="1600" dirty="0">
              <a:solidFill>
                <a:schemeClr val="accent1"/>
              </a:solidFill>
              <a:latin typeface="+mn-lt"/>
              <a:ea typeface="+mn-ea"/>
              <a:cs typeface="+mn-cs"/>
            </a:endParaRPr>
          </a:p>
          <a:p>
            <a:endParaRPr lang="sl-SI" dirty="0"/>
          </a:p>
        </p:txBody>
      </p:sp>
      <p:sp>
        <p:nvSpPr>
          <p:cNvPr id="13" name="Text Placeholder 12"/>
          <p:cNvSpPr>
            <a:spLocks noGrp="1"/>
          </p:cNvSpPr>
          <p:nvPr>
            <p:ph type="body" sz="quarter" idx="20"/>
          </p:nvPr>
        </p:nvSpPr>
        <p:spPr>
          <a:xfrm>
            <a:off x="659747" y="5247853"/>
            <a:ext cx="10080000" cy="360363"/>
          </a:xfrm>
        </p:spPr>
        <p:txBody>
          <a:bodyPr/>
          <a:lstStyle/>
          <a:p>
            <a:r>
              <a:rPr lang="sl-SI" sz="1600" dirty="0">
                <a:solidFill>
                  <a:schemeClr val="accent1"/>
                </a:solidFill>
                <a:latin typeface="+mn-lt"/>
                <a:ea typeface="+mn-ea"/>
                <a:cs typeface="+mn-cs"/>
              </a:rPr>
              <a:t>4.3.4 Primeri zelenega financiranja – Zbiranje in prevoz nevarnih odpadkov</a:t>
            </a:r>
            <a:endParaRPr lang="sl-SI" dirty="0"/>
          </a:p>
        </p:txBody>
      </p:sp>
      <p:sp>
        <p:nvSpPr>
          <p:cNvPr id="14" name="Text Placeholder 13"/>
          <p:cNvSpPr>
            <a:spLocks noGrp="1"/>
          </p:cNvSpPr>
          <p:nvPr>
            <p:ph type="body" sz="quarter" idx="21"/>
          </p:nvPr>
        </p:nvSpPr>
        <p:spPr>
          <a:xfrm>
            <a:off x="10575574" y="1130349"/>
            <a:ext cx="960000" cy="360363"/>
          </a:xfrm>
        </p:spPr>
        <p:txBody>
          <a:bodyPr/>
          <a:lstStyle/>
          <a:p>
            <a:r>
              <a:rPr lang="sl-SI" dirty="0">
                <a:solidFill>
                  <a:schemeClr val="accent1"/>
                </a:solidFill>
              </a:rPr>
              <a:t>3</a:t>
            </a:r>
          </a:p>
        </p:txBody>
      </p:sp>
      <p:sp>
        <p:nvSpPr>
          <p:cNvPr id="15" name="Text Placeholder 14"/>
          <p:cNvSpPr>
            <a:spLocks noGrp="1"/>
          </p:cNvSpPr>
          <p:nvPr>
            <p:ph type="body" sz="quarter" idx="22"/>
          </p:nvPr>
        </p:nvSpPr>
        <p:spPr>
          <a:xfrm>
            <a:off x="10575574" y="1549262"/>
            <a:ext cx="960000" cy="360363"/>
          </a:xfrm>
        </p:spPr>
        <p:txBody>
          <a:bodyPr/>
          <a:lstStyle/>
          <a:p>
            <a:r>
              <a:rPr lang="sl-SI" dirty="0">
                <a:solidFill>
                  <a:schemeClr val="accent1"/>
                </a:solidFill>
              </a:rPr>
              <a:t>4</a:t>
            </a:r>
          </a:p>
        </p:txBody>
      </p:sp>
      <p:sp>
        <p:nvSpPr>
          <p:cNvPr id="16" name="Text Placeholder 15"/>
          <p:cNvSpPr>
            <a:spLocks noGrp="1"/>
          </p:cNvSpPr>
          <p:nvPr>
            <p:ph type="body" sz="quarter" idx="23"/>
          </p:nvPr>
        </p:nvSpPr>
        <p:spPr>
          <a:xfrm>
            <a:off x="10575574" y="1968177"/>
            <a:ext cx="960000" cy="360363"/>
          </a:xfrm>
        </p:spPr>
        <p:txBody>
          <a:bodyPr/>
          <a:lstStyle/>
          <a:p>
            <a:r>
              <a:rPr lang="sl-SI" dirty="0">
                <a:solidFill>
                  <a:schemeClr val="accent1"/>
                </a:solidFill>
              </a:rPr>
              <a:t>5</a:t>
            </a:r>
          </a:p>
        </p:txBody>
      </p:sp>
      <p:sp>
        <p:nvSpPr>
          <p:cNvPr id="17" name="Text Placeholder 16"/>
          <p:cNvSpPr>
            <a:spLocks noGrp="1"/>
          </p:cNvSpPr>
          <p:nvPr>
            <p:ph type="body" sz="quarter" idx="24"/>
          </p:nvPr>
        </p:nvSpPr>
        <p:spPr>
          <a:xfrm>
            <a:off x="10575574" y="2387091"/>
            <a:ext cx="960000" cy="360363"/>
          </a:xfrm>
        </p:spPr>
        <p:txBody>
          <a:bodyPr/>
          <a:lstStyle/>
          <a:p>
            <a:r>
              <a:rPr lang="sl-SI" dirty="0">
                <a:solidFill>
                  <a:schemeClr val="accent1"/>
                </a:solidFill>
              </a:rPr>
              <a:t>6</a:t>
            </a:r>
          </a:p>
        </p:txBody>
      </p:sp>
      <p:sp>
        <p:nvSpPr>
          <p:cNvPr id="18" name="Text Placeholder 17"/>
          <p:cNvSpPr>
            <a:spLocks noGrp="1"/>
          </p:cNvSpPr>
          <p:nvPr>
            <p:ph type="body" sz="quarter" idx="25"/>
          </p:nvPr>
        </p:nvSpPr>
        <p:spPr>
          <a:xfrm>
            <a:off x="10575574" y="2806005"/>
            <a:ext cx="960000" cy="360363"/>
          </a:xfrm>
        </p:spPr>
        <p:txBody>
          <a:bodyPr/>
          <a:lstStyle/>
          <a:p>
            <a:r>
              <a:rPr lang="sl-SI" dirty="0">
                <a:solidFill>
                  <a:schemeClr val="accent1"/>
                </a:solidFill>
              </a:rPr>
              <a:t>7</a:t>
            </a:r>
          </a:p>
        </p:txBody>
      </p:sp>
      <p:sp>
        <p:nvSpPr>
          <p:cNvPr id="19" name="Text Placeholder 18"/>
          <p:cNvSpPr>
            <a:spLocks noGrp="1"/>
          </p:cNvSpPr>
          <p:nvPr>
            <p:ph type="body" sz="quarter" idx="26"/>
          </p:nvPr>
        </p:nvSpPr>
        <p:spPr>
          <a:xfrm>
            <a:off x="10575574" y="3224918"/>
            <a:ext cx="960000" cy="360363"/>
          </a:xfrm>
        </p:spPr>
        <p:txBody>
          <a:bodyPr/>
          <a:lstStyle/>
          <a:p>
            <a:r>
              <a:rPr lang="sl-SI" dirty="0">
                <a:solidFill>
                  <a:schemeClr val="accent1"/>
                </a:solidFill>
              </a:rPr>
              <a:t>8</a:t>
            </a:r>
          </a:p>
        </p:txBody>
      </p:sp>
      <p:sp>
        <p:nvSpPr>
          <p:cNvPr id="20" name="Text Placeholder 19"/>
          <p:cNvSpPr>
            <a:spLocks noGrp="1"/>
          </p:cNvSpPr>
          <p:nvPr>
            <p:ph type="body" sz="quarter" idx="27"/>
          </p:nvPr>
        </p:nvSpPr>
        <p:spPr>
          <a:xfrm>
            <a:off x="10575574" y="3643832"/>
            <a:ext cx="960000" cy="360363"/>
          </a:xfrm>
        </p:spPr>
        <p:txBody>
          <a:bodyPr/>
          <a:lstStyle/>
          <a:p>
            <a:r>
              <a:rPr lang="sl-SI" dirty="0">
                <a:solidFill>
                  <a:schemeClr val="accent1"/>
                </a:solidFill>
              </a:rPr>
              <a:t>9</a:t>
            </a:r>
          </a:p>
        </p:txBody>
      </p:sp>
      <p:sp>
        <p:nvSpPr>
          <p:cNvPr id="21" name="Text Placeholder 20"/>
          <p:cNvSpPr>
            <a:spLocks noGrp="1"/>
          </p:cNvSpPr>
          <p:nvPr>
            <p:ph type="body" sz="quarter" idx="28"/>
          </p:nvPr>
        </p:nvSpPr>
        <p:spPr>
          <a:xfrm>
            <a:off x="10575574" y="4062747"/>
            <a:ext cx="960000" cy="360363"/>
          </a:xfrm>
        </p:spPr>
        <p:txBody>
          <a:bodyPr/>
          <a:lstStyle/>
          <a:p>
            <a:r>
              <a:rPr lang="sl-SI" dirty="0">
                <a:solidFill>
                  <a:schemeClr val="accent1"/>
                </a:solidFill>
              </a:rPr>
              <a:t>10</a:t>
            </a:r>
          </a:p>
        </p:txBody>
      </p:sp>
      <p:sp>
        <p:nvSpPr>
          <p:cNvPr id="22" name="Text Placeholder 21"/>
          <p:cNvSpPr>
            <a:spLocks noGrp="1"/>
          </p:cNvSpPr>
          <p:nvPr>
            <p:ph type="body" sz="quarter" idx="29"/>
          </p:nvPr>
        </p:nvSpPr>
        <p:spPr>
          <a:xfrm>
            <a:off x="10575574" y="4481661"/>
            <a:ext cx="960000" cy="360363"/>
          </a:xfrm>
        </p:spPr>
        <p:txBody>
          <a:bodyPr/>
          <a:lstStyle/>
          <a:p>
            <a:r>
              <a:rPr lang="sl-SI" dirty="0">
                <a:solidFill>
                  <a:schemeClr val="accent1"/>
                </a:solidFill>
              </a:rPr>
              <a:t>11</a:t>
            </a:r>
          </a:p>
        </p:txBody>
      </p:sp>
      <p:sp>
        <p:nvSpPr>
          <p:cNvPr id="23" name="Text Placeholder 22"/>
          <p:cNvSpPr>
            <a:spLocks noGrp="1"/>
          </p:cNvSpPr>
          <p:nvPr>
            <p:ph type="body" sz="quarter" idx="30"/>
          </p:nvPr>
        </p:nvSpPr>
        <p:spPr>
          <a:xfrm>
            <a:off x="10592867" y="5247853"/>
            <a:ext cx="960000" cy="360363"/>
          </a:xfrm>
        </p:spPr>
        <p:txBody>
          <a:bodyPr/>
          <a:lstStyle/>
          <a:p>
            <a:r>
              <a:rPr lang="sl-SI" dirty="0">
                <a:solidFill>
                  <a:schemeClr val="accent1"/>
                </a:solidFill>
              </a:rPr>
              <a:t>13</a:t>
            </a:r>
          </a:p>
        </p:txBody>
      </p:sp>
      <p:sp>
        <p:nvSpPr>
          <p:cNvPr id="24" name="Text Placeholder 23"/>
          <p:cNvSpPr>
            <a:spLocks noGrp="1"/>
          </p:cNvSpPr>
          <p:nvPr>
            <p:ph type="body" sz="quarter" idx="31"/>
          </p:nvPr>
        </p:nvSpPr>
        <p:spPr>
          <a:xfrm>
            <a:off x="10592867" y="5666770"/>
            <a:ext cx="960000" cy="360363"/>
          </a:xfrm>
        </p:spPr>
        <p:txBody>
          <a:bodyPr/>
          <a:lstStyle/>
          <a:p>
            <a:r>
              <a:rPr lang="sl-SI" dirty="0">
                <a:solidFill>
                  <a:schemeClr val="accent1"/>
                </a:solidFill>
              </a:rPr>
              <a:t>14</a:t>
            </a:r>
          </a:p>
        </p:txBody>
      </p:sp>
      <p:sp>
        <p:nvSpPr>
          <p:cNvPr id="25" name="Slide Number Placeholder 24"/>
          <p:cNvSpPr>
            <a:spLocks noGrp="1"/>
          </p:cNvSpPr>
          <p:nvPr>
            <p:ph type="sldNum" sz="quarter" idx="4"/>
          </p:nvPr>
        </p:nvSpPr>
        <p:spPr/>
        <p:txBody>
          <a:bodyPr/>
          <a:lstStyle/>
          <a:p>
            <a:fld id="{4E4FABFB-D960-4827-A99E-1FF56FC4539E}" type="slidenum">
              <a:rPr lang="sl-SI" noProof="0" smtClean="0"/>
              <a:pPr/>
              <a:t>2</a:t>
            </a:fld>
            <a:endParaRPr lang="sl-SI" noProof="0" dirty="0"/>
          </a:p>
        </p:txBody>
      </p:sp>
      <p:sp>
        <p:nvSpPr>
          <p:cNvPr id="26" name="Text Placeholder 12">
            <a:extLst>
              <a:ext uri="{FF2B5EF4-FFF2-40B4-BE49-F238E27FC236}">
                <a16:creationId xmlns:a16="http://schemas.microsoft.com/office/drawing/2014/main" id="{4D6FFBAE-FA2B-67AE-2786-B69CC45BD861}"/>
              </a:ext>
            </a:extLst>
          </p:cNvPr>
          <p:cNvSpPr txBox="1">
            <a:spLocks/>
          </p:cNvSpPr>
          <p:nvPr/>
        </p:nvSpPr>
        <p:spPr>
          <a:xfrm>
            <a:off x="672517" y="4880084"/>
            <a:ext cx="10080000" cy="360363"/>
          </a:xfrm>
          <a:prstGeom prst="rect">
            <a:avLst/>
          </a:prstGeom>
        </p:spPr>
        <p:txBody>
          <a:bodyPr vert="horz" wrap="none" lIns="0" tIns="0" rIns="0" bIns="0" rtlCol="0">
            <a:noAutofit/>
          </a:bodyPr>
          <a:lstStyle>
            <a:lvl1pPr marL="0" indent="0" algn="l" defTabSz="914400" rtl="0" eaLnBrk="1" latinLnBrk="0" hangingPunct="1">
              <a:spcBef>
                <a:spcPts val="40"/>
              </a:spcBef>
              <a:buFont typeface="Arial" panose="020B0604020202020204" pitchFamily="34" charset="0"/>
              <a:buNone/>
              <a:defRPr sz="1600" kern="1200">
                <a:solidFill>
                  <a:schemeClr val="tx1"/>
                </a:solidFill>
                <a:latin typeface="+mn-lt"/>
                <a:ea typeface="+mn-ea"/>
                <a:cs typeface="+mn-cs"/>
              </a:defRPr>
            </a:lvl1pPr>
            <a:lvl2pPr marL="288000" indent="-144000" algn="l" defTabSz="914400" rtl="0" eaLnBrk="1" latinLnBrk="0" hangingPunct="1">
              <a:spcBef>
                <a:spcPts val="40"/>
              </a:spcBef>
              <a:buFont typeface="Arial" panose="020B0604020202020204" pitchFamily="34" charset="0"/>
              <a:buChar char="•"/>
              <a:defRPr sz="1800" kern="1200">
                <a:solidFill>
                  <a:schemeClr val="tx1"/>
                </a:solidFill>
                <a:latin typeface="+mn-lt"/>
                <a:ea typeface="+mn-ea"/>
                <a:cs typeface="+mn-cs"/>
              </a:defRPr>
            </a:lvl2pPr>
            <a:lvl3pPr marL="432000" indent="-144000" algn="l" defTabSz="914400" rtl="0" eaLnBrk="1" latinLnBrk="0" hangingPunct="1">
              <a:spcBef>
                <a:spcPts val="40"/>
              </a:spcBef>
              <a:buFont typeface="Arial" panose="020B0604020202020204" pitchFamily="34" charset="0"/>
              <a:buChar char="•"/>
              <a:defRPr sz="1600" kern="1200">
                <a:solidFill>
                  <a:schemeClr val="tx1"/>
                </a:solidFill>
                <a:latin typeface="+mn-lt"/>
                <a:ea typeface="+mn-ea"/>
                <a:cs typeface="+mn-cs"/>
              </a:defRPr>
            </a:lvl3pPr>
            <a:lvl4pPr marL="576000" indent="-144000" algn="l" defTabSz="914400" rtl="0" eaLnBrk="1" latinLnBrk="0" hangingPunct="1">
              <a:spcBef>
                <a:spcPts val="40"/>
              </a:spcBef>
              <a:buFont typeface="Arial" panose="020B0604020202020204" pitchFamily="34" charset="0"/>
              <a:buChar char="•"/>
              <a:defRPr sz="1400" kern="1200">
                <a:solidFill>
                  <a:schemeClr val="tx1"/>
                </a:solidFill>
                <a:latin typeface="+mn-lt"/>
                <a:ea typeface="+mn-ea"/>
                <a:cs typeface="+mn-cs"/>
              </a:defRPr>
            </a:lvl4pPr>
            <a:lvl5pPr marL="720000" indent="-144000" algn="l" defTabSz="914400" rtl="0" eaLnBrk="1" latinLnBrk="0" hangingPunct="1">
              <a:spcBef>
                <a:spcPts val="4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sl-SI" sz="1600" dirty="0">
                <a:solidFill>
                  <a:schemeClr val="accent1"/>
                </a:solidFill>
                <a:latin typeface="+mn-lt"/>
                <a:ea typeface="+mn-ea"/>
                <a:cs typeface="+mn-cs"/>
              </a:rPr>
              <a:t>4.3.3 Primeri zelenega financiranja – energetska učinkovitost - zamenjava klimatskih naprav</a:t>
            </a:r>
            <a:endParaRPr lang="sl-SI" dirty="0"/>
          </a:p>
        </p:txBody>
      </p:sp>
      <p:sp>
        <p:nvSpPr>
          <p:cNvPr id="27" name="Text Placeholder 21">
            <a:extLst>
              <a:ext uri="{FF2B5EF4-FFF2-40B4-BE49-F238E27FC236}">
                <a16:creationId xmlns:a16="http://schemas.microsoft.com/office/drawing/2014/main" id="{CF455413-6944-2F69-6040-54E34EB777B9}"/>
              </a:ext>
            </a:extLst>
          </p:cNvPr>
          <p:cNvSpPr txBox="1">
            <a:spLocks/>
          </p:cNvSpPr>
          <p:nvPr/>
        </p:nvSpPr>
        <p:spPr>
          <a:xfrm>
            <a:off x="10608608" y="4844266"/>
            <a:ext cx="960000" cy="360363"/>
          </a:xfrm>
          <a:prstGeom prst="rect">
            <a:avLst/>
          </a:prstGeom>
        </p:spPr>
        <p:txBody>
          <a:bodyPr vert="horz" wrap="none" lIns="0" tIns="0" rIns="0" bIns="0" rtlCol="0">
            <a:noAutofit/>
          </a:bodyPr>
          <a:lstStyle>
            <a:lvl1pPr marL="0" indent="0" algn="r" defTabSz="914400" rtl="0" eaLnBrk="1" latinLnBrk="0" hangingPunct="1">
              <a:spcBef>
                <a:spcPts val="40"/>
              </a:spcBef>
              <a:buFont typeface="Arial" panose="020B0604020202020204" pitchFamily="34" charset="0"/>
              <a:buNone/>
              <a:defRPr sz="1600" b="1" kern="1200">
                <a:solidFill>
                  <a:schemeClr val="bg2"/>
                </a:solidFill>
                <a:latin typeface="+mn-lt"/>
                <a:ea typeface="+mn-ea"/>
                <a:cs typeface="+mn-cs"/>
              </a:defRPr>
            </a:lvl1pPr>
            <a:lvl2pPr marL="288000" indent="-144000" algn="l" defTabSz="914400" rtl="0" eaLnBrk="1" latinLnBrk="0" hangingPunct="1">
              <a:spcBef>
                <a:spcPts val="40"/>
              </a:spcBef>
              <a:buFont typeface="Arial" panose="020B0604020202020204" pitchFamily="34" charset="0"/>
              <a:buChar char="•"/>
              <a:defRPr sz="1800" kern="1200">
                <a:solidFill>
                  <a:schemeClr val="tx1"/>
                </a:solidFill>
                <a:latin typeface="+mn-lt"/>
                <a:ea typeface="+mn-ea"/>
                <a:cs typeface="+mn-cs"/>
              </a:defRPr>
            </a:lvl2pPr>
            <a:lvl3pPr marL="432000" indent="-144000" algn="l" defTabSz="914400" rtl="0" eaLnBrk="1" latinLnBrk="0" hangingPunct="1">
              <a:spcBef>
                <a:spcPts val="40"/>
              </a:spcBef>
              <a:buFont typeface="Arial" panose="020B0604020202020204" pitchFamily="34" charset="0"/>
              <a:buChar char="•"/>
              <a:defRPr sz="1600" kern="1200">
                <a:solidFill>
                  <a:schemeClr val="tx1"/>
                </a:solidFill>
                <a:latin typeface="+mn-lt"/>
                <a:ea typeface="+mn-ea"/>
                <a:cs typeface="+mn-cs"/>
              </a:defRPr>
            </a:lvl3pPr>
            <a:lvl4pPr marL="576000" indent="-144000" algn="l" defTabSz="914400" rtl="0" eaLnBrk="1" latinLnBrk="0" hangingPunct="1">
              <a:spcBef>
                <a:spcPts val="40"/>
              </a:spcBef>
              <a:buFont typeface="Arial" panose="020B0604020202020204" pitchFamily="34" charset="0"/>
              <a:buChar char="•"/>
              <a:defRPr sz="1400" kern="1200">
                <a:solidFill>
                  <a:schemeClr val="tx1"/>
                </a:solidFill>
                <a:latin typeface="+mn-lt"/>
                <a:ea typeface="+mn-ea"/>
                <a:cs typeface="+mn-cs"/>
              </a:defRPr>
            </a:lvl4pPr>
            <a:lvl5pPr marL="720000" indent="-144000" algn="l" defTabSz="914400" rtl="0" eaLnBrk="1" latinLnBrk="0" hangingPunct="1">
              <a:spcBef>
                <a:spcPts val="4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sl-SI" dirty="0">
                <a:solidFill>
                  <a:schemeClr val="accent1"/>
                </a:solidFill>
              </a:rPr>
              <a:t>12</a:t>
            </a:r>
          </a:p>
        </p:txBody>
      </p:sp>
    </p:spTree>
    <p:extLst>
      <p:ext uri="{BB962C8B-B14F-4D97-AF65-F5344CB8AC3E}">
        <p14:creationId xmlns:p14="http://schemas.microsoft.com/office/powerpoint/2010/main" val="36115322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0388016-2041-4B4D-9DCF-DAD81A5C73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3" name="Object 2" hidden="1">
                        <a:extLst>
                          <a:ext uri="{FF2B5EF4-FFF2-40B4-BE49-F238E27FC236}">
                            <a16:creationId xmlns:a16="http://schemas.microsoft.com/office/drawing/2014/main" id="{50388016-2041-4B4D-9DCF-DAD81A5C73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Oval 13">
            <a:extLst>
              <a:ext uri="{FF2B5EF4-FFF2-40B4-BE49-F238E27FC236}">
                <a16:creationId xmlns:a16="http://schemas.microsoft.com/office/drawing/2014/main" id="{E7855AF0-8DF1-406D-83BF-C9EDB9057CAA}"/>
              </a:ext>
            </a:extLst>
          </p:cNvPr>
          <p:cNvSpPr/>
          <p:nvPr/>
        </p:nvSpPr>
        <p:spPr>
          <a:xfrm>
            <a:off x="9116576" y="5824264"/>
            <a:ext cx="2709664" cy="742678"/>
          </a:xfrm>
          <a:prstGeom prst="ellipse">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57575"/>
              </a:solidFill>
              <a:effectLst/>
              <a:uLnTx/>
              <a:uFillTx/>
              <a:latin typeface="Calibri" panose="020F0502020204030204"/>
              <a:ea typeface="+mn-ea"/>
              <a:cs typeface="+mn-cs"/>
            </a:endParaRPr>
          </a:p>
        </p:txBody>
      </p:sp>
      <p:sp>
        <p:nvSpPr>
          <p:cNvPr id="53" name="Title 5">
            <a:extLst>
              <a:ext uri="{FF2B5EF4-FFF2-40B4-BE49-F238E27FC236}">
                <a16:creationId xmlns:a16="http://schemas.microsoft.com/office/drawing/2014/main" id="{EE905276-BFDC-4EC1-9729-98E190BD5338}"/>
              </a:ext>
            </a:extLst>
          </p:cNvPr>
          <p:cNvSpPr>
            <a:spLocks noGrp="1"/>
          </p:cNvSpPr>
          <p:nvPr>
            <p:ph type="title"/>
          </p:nvPr>
        </p:nvSpPr>
        <p:spPr>
          <a:xfrm>
            <a:off x="468000" y="116632"/>
            <a:ext cx="11358240" cy="590400"/>
          </a:xfrm>
          <a:prstGeom prst="rect">
            <a:avLst/>
          </a:prstGeom>
        </p:spPr>
        <p:txBody>
          <a:bodyPr vert="horz">
            <a:normAutofit/>
          </a:bodyPr>
          <a:lstStyle/>
          <a:p>
            <a:pPr marL="457200" lvl="0" indent="-457200" algn="l">
              <a:lnSpc>
                <a:spcPct val="100000"/>
              </a:lnSpc>
              <a:spcBef>
                <a:spcPct val="20000"/>
              </a:spcBef>
              <a:buFont typeface="+mj-lt"/>
              <a:buAutoNum type="arabicPeriod"/>
              <a:defRPr/>
            </a:pPr>
            <a:r>
              <a:rPr lang="sl-SI" dirty="0">
                <a:solidFill>
                  <a:schemeClr val="accent1"/>
                </a:solidFill>
              </a:rPr>
              <a:t>Pot trajnostnega razvoja v NLB Skupini</a:t>
            </a:r>
            <a:endParaRPr lang="en-US" dirty="0">
              <a:solidFill>
                <a:schemeClr val="accent1"/>
              </a:solidFill>
            </a:endParaRPr>
          </a:p>
        </p:txBody>
      </p:sp>
      <p:sp>
        <p:nvSpPr>
          <p:cNvPr id="40" name="Slide Number Placeholder 3">
            <a:extLst>
              <a:ext uri="{FF2B5EF4-FFF2-40B4-BE49-F238E27FC236}">
                <a16:creationId xmlns:a16="http://schemas.microsoft.com/office/drawing/2014/main" id="{CDED03FA-C55A-4EDD-BC72-BA7905AF5F7D}"/>
              </a:ext>
            </a:extLst>
          </p:cNvPr>
          <p:cNvSpPr txBox="1">
            <a:spLocks/>
          </p:cNvSpPr>
          <p:nvPr/>
        </p:nvSpPr>
        <p:spPr>
          <a:xfrm>
            <a:off x="10020764" y="6651374"/>
            <a:ext cx="1632176" cy="182559"/>
          </a:xfrm>
          <a:prstGeom prst="rect">
            <a:avLst/>
          </a:prstGeom>
        </p:spPr>
        <p:txBody>
          <a:bodyPr anchor="ctr" anchorCtr="0"/>
          <a:lstStyle>
            <a:defPPr>
              <a:defRPr lang="sl-S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24D83F98-C831-4C37-A3FD-3718B42D3DEA}" type="slidenum">
              <a:rPr kumimoji="0" 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6" name="Rectangle 5">
            <a:extLst>
              <a:ext uri="{FF2B5EF4-FFF2-40B4-BE49-F238E27FC236}">
                <a16:creationId xmlns:a16="http://schemas.microsoft.com/office/drawing/2014/main" id="{5EFC7714-8EF2-4BB8-AD32-DF56ED815C0D}"/>
              </a:ext>
            </a:extLst>
          </p:cNvPr>
          <p:cNvSpPr/>
          <p:nvPr/>
        </p:nvSpPr>
        <p:spPr>
          <a:xfrm>
            <a:off x="468000" y="620688"/>
            <a:ext cx="11255999" cy="432170"/>
          </a:xfrm>
          <a:prstGeom prst="rect">
            <a:avLst/>
          </a:prstGeom>
        </p:spPr>
        <p:txBody>
          <a:bodyPr wrap="square" lIns="91440" tIns="45720" rIns="91440" bIns="45720" anchor="t">
            <a:spAutoFit/>
          </a:bodyPr>
          <a:lstStyle/>
          <a:p>
            <a:pPr marL="171450" marR="0" lvl="0" indent="-171450" algn="l" defTabSz="914400" rtl="0" eaLnBrk="1" fontAlgn="auto" latinLnBrk="0" hangingPunct="1">
              <a:lnSpc>
                <a:spcPct val="92000"/>
              </a:lnSpc>
              <a:spcBef>
                <a:spcPts val="0"/>
              </a:spcBef>
              <a:spcAft>
                <a:spcPts val="0"/>
              </a:spcAft>
              <a:buClrTx/>
              <a:buSzTx/>
              <a:buFont typeface="Wingdings" panose="05000000000000000000" pitchFamily="2" charset="2"/>
              <a:buChar char="§"/>
              <a:tabLst/>
              <a:defRPr/>
            </a:pPr>
            <a:r>
              <a:rPr kumimoji="0" lang="en-AU" sz="1200" b="1" i="0" u="none" strike="noStrike" kern="1200" cap="none" spc="0" normalizeH="0" baseline="0" noProof="0" dirty="0" err="1">
                <a:ln>
                  <a:noFill/>
                </a:ln>
                <a:solidFill>
                  <a:srgbClr val="757575">
                    <a:lumMod val="75000"/>
                  </a:srgbClr>
                </a:solidFill>
                <a:effectLst/>
                <a:uLnTx/>
                <a:uFillTx/>
                <a:latin typeface="Arial" panose="020B0604020202020204" pitchFamily="34" charset="0"/>
                <a:ea typeface="+mn-ea"/>
                <a:cs typeface="Arial" panose="020B0604020202020204" pitchFamily="34" charset="0"/>
              </a:rPr>
              <a:t>Naša</a:t>
            </a:r>
            <a:r>
              <a:rPr kumimoji="0" lang="en-AU" sz="1200" b="1" i="0" u="none" strike="noStrike" kern="1200" cap="none" spc="0" normalizeH="0" baseline="0" noProof="0" dirty="0">
                <a:ln>
                  <a:noFill/>
                </a:ln>
                <a:solidFill>
                  <a:srgbClr val="757575">
                    <a:lumMod val="75000"/>
                  </a:srgbClr>
                </a:solidFill>
                <a:effectLst/>
                <a:uLnTx/>
                <a:uFillTx/>
                <a:latin typeface="Arial" panose="020B0604020202020204" pitchFamily="34" charset="0"/>
                <a:ea typeface="+mn-ea"/>
                <a:cs typeface="Arial" panose="020B0604020202020204" pitchFamily="34" charset="0"/>
              </a:rPr>
              <a:t> pot </a:t>
            </a:r>
            <a:r>
              <a:rPr kumimoji="0" lang="en-AU" sz="1200" b="1" i="0" u="none" strike="noStrike" kern="1200" cap="none" spc="0" normalizeH="0" baseline="0" noProof="0" dirty="0" err="1">
                <a:ln>
                  <a:noFill/>
                </a:ln>
                <a:solidFill>
                  <a:srgbClr val="757575">
                    <a:lumMod val="75000"/>
                  </a:srgbClr>
                </a:solidFill>
                <a:effectLst/>
                <a:uLnTx/>
                <a:uFillTx/>
                <a:latin typeface="Arial" panose="020B0604020202020204" pitchFamily="34" charset="0"/>
                <a:ea typeface="+mn-ea"/>
                <a:cs typeface="Arial" panose="020B0604020202020204" pitchFamily="34" charset="0"/>
              </a:rPr>
              <a:t>trajnostnega</a:t>
            </a:r>
            <a:r>
              <a:rPr kumimoji="0" lang="en-AU" sz="1200" b="1" i="0" u="none" strike="noStrike" kern="1200" cap="none" spc="0" normalizeH="0" baseline="0" noProof="0" dirty="0">
                <a:ln>
                  <a:noFill/>
                </a:ln>
                <a:solidFill>
                  <a:srgbClr val="757575">
                    <a:lumMod val="75000"/>
                  </a:srgbClr>
                </a:solidFill>
                <a:effectLst/>
                <a:uLnTx/>
                <a:uFillTx/>
                <a:latin typeface="Arial" panose="020B0604020202020204" pitchFamily="34" charset="0"/>
                <a:ea typeface="+mn-ea"/>
                <a:cs typeface="Arial" panose="020B0604020202020204" pitchFamily="34" charset="0"/>
              </a:rPr>
              <a:t> </a:t>
            </a:r>
            <a:r>
              <a:rPr kumimoji="0" lang="en-AU" sz="1200" b="1" i="0" u="none" strike="noStrike" kern="1200" cap="none" spc="0" normalizeH="0" baseline="0" noProof="0" dirty="0" err="1">
                <a:ln>
                  <a:noFill/>
                </a:ln>
                <a:solidFill>
                  <a:srgbClr val="757575">
                    <a:lumMod val="75000"/>
                  </a:srgbClr>
                </a:solidFill>
                <a:effectLst/>
                <a:uLnTx/>
                <a:uFillTx/>
                <a:latin typeface="Arial" panose="020B0604020202020204" pitchFamily="34" charset="0"/>
                <a:ea typeface="+mn-ea"/>
                <a:cs typeface="Arial" panose="020B0604020202020204" pitchFamily="34" charset="0"/>
              </a:rPr>
              <a:t>razvoja</a:t>
            </a:r>
            <a:r>
              <a:rPr kumimoji="0" lang="en-AU" sz="1200" b="1" i="0" u="none" strike="noStrike" kern="1200" cap="none" spc="0" normalizeH="0" baseline="0" noProof="0" dirty="0">
                <a:ln>
                  <a:noFill/>
                </a:ln>
                <a:solidFill>
                  <a:srgbClr val="757575">
                    <a:lumMod val="75000"/>
                  </a:srgbClr>
                </a:solidFill>
                <a:effectLst/>
                <a:uLnTx/>
                <a:uFillTx/>
                <a:latin typeface="Arial" panose="020B0604020202020204" pitchFamily="34" charset="0"/>
                <a:ea typeface="+mn-ea"/>
                <a:cs typeface="Arial" panose="020B0604020202020204" pitchFamily="34" charset="0"/>
              </a:rPr>
              <a:t> se </a:t>
            </a:r>
            <a:r>
              <a:rPr kumimoji="0" lang="en-AU" sz="1200" b="1" i="0" u="none" strike="noStrike" kern="1200" cap="none" spc="0" normalizeH="0" baseline="0" noProof="0" dirty="0" err="1">
                <a:ln>
                  <a:noFill/>
                </a:ln>
                <a:solidFill>
                  <a:srgbClr val="757575">
                    <a:lumMod val="75000"/>
                  </a:srgbClr>
                </a:solidFill>
                <a:effectLst/>
                <a:uLnTx/>
                <a:uFillTx/>
                <a:latin typeface="Arial" panose="020B0604020202020204" pitchFamily="34" charset="0"/>
                <a:ea typeface="+mn-ea"/>
                <a:cs typeface="Arial" panose="020B0604020202020204" pitchFamily="34" charset="0"/>
              </a:rPr>
              <a:t>osredotoča</a:t>
            </a:r>
            <a:r>
              <a:rPr kumimoji="0" lang="en-AU" sz="1200" b="1" i="0" u="none" strike="noStrike" kern="1200" cap="none" spc="0" normalizeH="0" baseline="0" noProof="0" dirty="0">
                <a:ln>
                  <a:noFill/>
                </a:ln>
                <a:solidFill>
                  <a:srgbClr val="757575">
                    <a:lumMod val="75000"/>
                  </a:srgbClr>
                </a:solidFill>
                <a:effectLst/>
                <a:uLnTx/>
                <a:uFillTx/>
                <a:latin typeface="Arial" panose="020B0604020202020204" pitchFamily="34" charset="0"/>
                <a:ea typeface="+mn-ea"/>
                <a:cs typeface="Arial" panose="020B0604020202020204" pitchFamily="34" charset="0"/>
              </a:rPr>
              <a:t> </a:t>
            </a:r>
            <a:r>
              <a:rPr kumimoji="0" lang="en-AU" sz="1200" b="1" i="0" u="none" strike="noStrike" kern="1200" cap="none" spc="0" normalizeH="0" baseline="0" noProof="0" dirty="0" err="1">
                <a:ln>
                  <a:noFill/>
                </a:ln>
                <a:solidFill>
                  <a:srgbClr val="757575">
                    <a:lumMod val="75000"/>
                  </a:srgbClr>
                </a:solidFill>
                <a:effectLst/>
                <a:uLnTx/>
                <a:uFillTx/>
                <a:latin typeface="Arial" panose="020B0604020202020204" pitchFamily="34" charset="0"/>
                <a:ea typeface="+mn-ea"/>
                <a:cs typeface="Arial" panose="020B0604020202020204" pitchFamily="34" charset="0"/>
              </a:rPr>
              <a:t>na</a:t>
            </a:r>
            <a:r>
              <a:rPr kumimoji="0" lang="en-AU" sz="1200" b="1" i="0" u="none" strike="noStrike" kern="1200" cap="none" spc="0" normalizeH="0" baseline="0" noProof="0" dirty="0">
                <a:ln>
                  <a:noFill/>
                </a:ln>
                <a:solidFill>
                  <a:srgbClr val="757575">
                    <a:lumMod val="75000"/>
                  </a:srgbClr>
                </a:solidFill>
                <a:effectLst/>
                <a:uLnTx/>
                <a:uFillTx/>
                <a:latin typeface="Arial" panose="020B0604020202020204" pitchFamily="34" charset="0"/>
                <a:ea typeface="+mn-ea"/>
                <a:cs typeface="Arial" panose="020B0604020202020204" pitchFamily="34" charset="0"/>
              </a:rPr>
              <a:t> </a:t>
            </a:r>
            <a:r>
              <a:rPr kumimoji="0" lang="en-AU" sz="1200" b="1" i="0" u="none" strike="noStrike" kern="1200" cap="none" spc="0" normalizeH="0" baseline="0" noProof="0" dirty="0" err="1">
                <a:ln>
                  <a:noFill/>
                </a:ln>
                <a:solidFill>
                  <a:srgbClr val="757575">
                    <a:lumMod val="75000"/>
                  </a:srgbClr>
                </a:solidFill>
                <a:effectLst/>
                <a:uLnTx/>
                <a:uFillTx/>
                <a:latin typeface="Arial" panose="020B0604020202020204" pitchFamily="34" charset="0"/>
                <a:ea typeface="+mn-ea"/>
                <a:cs typeface="Arial" panose="020B0604020202020204" pitchFamily="34" charset="0"/>
              </a:rPr>
              <a:t>reševanje</a:t>
            </a:r>
            <a:r>
              <a:rPr kumimoji="0" lang="en-AU" sz="1200" b="1" i="0" u="none" strike="noStrike" kern="1200" cap="none" spc="0" normalizeH="0" baseline="0" noProof="0" dirty="0">
                <a:ln>
                  <a:noFill/>
                </a:ln>
                <a:solidFill>
                  <a:srgbClr val="757575">
                    <a:lumMod val="75000"/>
                  </a:srgbClr>
                </a:solidFill>
                <a:effectLst/>
                <a:uLnTx/>
                <a:uFillTx/>
                <a:latin typeface="Arial" panose="020B0604020202020204" pitchFamily="34" charset="0"/>
                <a:ea typeface="+mn-ea"/>
                <a:cs typeface="Arial" panose="020B0604020202020204" pitchFamily="34" charset="0"/>
              </a:rPr>
              <a:t> </a:t>
            </a:r>
            <a:r>
              <a:rPr kumimoji="0" lang="en-AU" sz="1200" b="1" i="0" u="none" strike="noStrike" kern="1200" cap="none" spc="0" normalizeH="0" baseline="0" noProof="0" dirty="0" err="1">
                <a:ln>
                  <a:noFill/>
                </a:ln>
                <a:solidFill>
                  <a:srgbClr val="757575">
                    <a:lumMod val="75000"/>
                  </a:srgbClr>
                </a:solidFill>
                <a:effectLst/>
                <a:uLnTx/>
                <a:uFillTx/>
                <a:latin typeface="Arial" panose="020B0604020202020204" pitchFamily="34" charset="0"/>
                <a:ea typeface="+mn-ea"/>
                <a:cs typeface="Arial" panose="020B0604020202020204" pitchFamily="34" charset="0"/>
              </a:rPr>
              <a:t>okoljskih</a:t>
            </a:r>
            <a:r>
              <a:rPr kumimoji="0" lang="en-AU" sz="1200" b="1" i="0" u="none" strike="noStrike" kern="1200" cap="none" spc="0" normalizeH="0" baseline="0" noProof="0" dirty="0">
                <a:ln>
                  <a:noFill/>
                </a:ln>
                <a:solidFill>
                  <a:srgbClr val="757575">
                    <a:lumMod val="75000"/>
                  </a:srgbClr>
                </a:solidFill>
                <a:effectLst/>
                <a:uLnTx/>
                <a:uFillTx/>
                <a:latin typeface="Arial" panose="020B0604020202020204" pitchFamily="34" charset="0"/>
                <a:ea typeface="+mn-ea"/>
                <a:cs typeface="Arial" panose="020B0604020202020204" pitchFamily="34" charset="0"/>
              </a:rPr>
              <a:t>, </a:t>
            </a:r>
            <a:r>
              <a:rPr kumimoji="0" lang="en-AU" sz="1200" b="1" i="0" u="none" strike="noStrike" kern="1200" cap="none" spc="0" normalizeH="0" baseline="0" noProof="0" dirty="0" err="1">
                <a:ln>
                  <a:noFill/>
                </a:ln>
                <a:solidFill>
                  <a:srgbClr val="757575">
                    <a:lumMod val="75000"/>
                  </a:srgbClr>
                </a:solidFill>
                <a:effectLst/>
                <a:uLnTx/>
                <a:uFillTx/>
                <a:latin typeface="Arial" panose="020B0604020202020204" pitchFamily="34" charset="0"/>
                <a:ea typeface="+mn-ea"/>
                <a:cs typeface="Arial" panose="020B0604020202020204" pitchFamily="34" charset="0"/>
              </a:rPr>
              <a:t>družbenih</a:t>
            </a:r>
            <a:r>
              <a:rPr kumimoji="0" lang="en-AU" sz="1200" b="1" i="0" u="none" strike="noStrike" kern="1200" cap="none" spc="0" normalizeH="0" baseline="0" noProof="0" dirty="0">
                <a:ln>
                  <a:noFill/>
                </a:ln>
                <a:solidFill>
                  <a:srgbClr val="757575">
                    <a:lumMod val="75000"/>
                  </a:srgbClr>
                </a:solidFill>
                <a:effectLst/>
                <a:uLnTx/>
                <a:uFillTx/>
                <a:latin typeface="Arial" panose="020B0604020202020204" pitchFamily="34" charset="0"/>
                <a:ea typeface="+mn-ea"/>
                <a:cs typeface="Arial" panose="020B0604020202020204" pitchFamily="34" charset="0"/>
              </a:rPr>
              <a:t> in </a:t>
            </a:r>
            <a:r>
              <a:rPr kumimoji="0" lang="en-AU" sz="1200" b="1" i="0" u="none" strike="noStrike" kern="1200" cap="none" spc="0" normalizeH="0" baseline="0" noProof="0" dirty="0" err="1">
                <a:ln>
                  <a:noFill/>
                </a:ln>
                <a:solidFill>
                  <a:srgbClr val="757575">
                    <a:lumMod val="75000"/>
                  </a:srgbClr>
                </a:solidFill>
                <a:effectLst/>
                <a:uLnTx/>
                <a:uFillTx/>
                <a:latin typeface="Arial" panose="020B0604020202020204" pitchFamily="34" charset="0"/>
                <a:ea typeface="+mn-ea"/>
                <a:cs typeface="Arial" panose="020B0604020202020204" pitchFamily="34" charset="0"/>
              </a:rPr>
              <a:t>upravljavskih</a:t>
            </a:r>
            <a:r>
              <a:rPr kumimoji="0" lang="en-AU" sz="1200" b="1" i="0" u="none" strike="noStrike" kern="1200" cap="none" spc="0" normalizeH="0" baseline="0" noProof="0" dirty="0">
                <a:ln>
                  <a:noFill/>
                </a:ln>
                <a:solidFill>
                  <a:srgbClr val="757575">
                    <a:lumMod val="75000"/>
                  </a:srgbClr>
                </a:solidFill>
                <a:effectLst/>
                <a:uLnTx/>
                <a:uFillTx/>
                <a:latin typeface="Arial" panose="020B0604020202020204" pitchFamily="34" charset="0"/>
                <a:ea typeface="+mn-ea"/>
                <a:cs typeface="Arial" panose="020B0604020202020204" pitchFamily="34" charset="0"/>
              </a:rPr>
              <a:t> </a:t>
            </a:r>
            <a:r>
              <a:rPr kumimoji="0" lang="en-AU" sz="1200" b="1" i="0" u="none" strike="noStrike" kern="1200" cap="none" spc="0" normalizeH="0" baseline="0" noProof="0" dirty="0" err="1">
                <a:ln>
                  <a:noFill/>
                </a:ln>
                <a:solidFill>
                  <a:srgbClr val="757575">
                    <a:lumMod val="75000"/>
                  </a:srgbClr>
                </a:solidFill>
                <a:effectLst/>
                <a:uLnTx/>
                <a:uFillTx/>
                <a:latin typeface="Arial" panose="020B0604020202020204" pitchFamily="34" charset="0"/>
                <a:ea typeface="+mn-ea"/>
                <a:cs typeface="Arial" panose="020B0604020202020204" pitchFamily="34" charset="0"/>
              </a:rPr>
              <a:t>problemov</a:t>
            </a:r>
            <a:r>
              <a:rPr kumimoji="0" lang="en-AU" sz="1200" b="1" i="0" u="none" strike="noStrike" kern="1200" cap="none" spc="0" normalizeH="0" baseline="0" noProof="0" dirty="0">
                <a:ln>
                  <a:noFill/>
                </a:ln>
                <a:solidFill>
                  <a:srgbClr val="757575">
                    <a:lumMod val="75000"/>
                  </a:srgbClr>
                </a:solidFill>
                <a:effectLst/>
                <a:uLnTx/>
                <a:uFillTx/>
                <a:latin typeface="Arial" panose="020B0604020202020204" pitchFamily="34" charset="0"/>
                <a:ea typeface="+mn-ea"/>
                <a:cs typeface="Arial" panose="020B0604020202020204" pitchFamily="34" charset="0"/>
              </a:rPr>
              <a:t> z </a:t>
            </a:r>
            <a:r>
              <a:rPr kumimoji="0" lang="en-AU" sz="1200" b="1" i="0" u="none" strike="noStrike" kern="1200" cap="none" spc="0" normalizeH="0" baseline="0" noProof="0" dirty="0" err="1">
                <a:ln>
                  <a:noFill/>
                </a:ln>
                <a:solidFill>
                  <a:srgbClr val="757575">
                    <a:lumMod val="75000"/>
                  </a:srgbClr>
                </a:solidFill>
                <a:effectLst/>
                <a:uLnTx/>
                <a:uFillTx/>
                <a:latin typeface="Arial" panose="020B0604020202020204" pitchFamily="34" charset="0"/>
                <a:ea typeface="+mn-ea"/>
                <a:cs typeface="Arial" panose="020B0604020202020204" pitchFamily="34" charset="0"/>
              </a:rPr>
              <a:t>enim</a:t>
            </a:r>
            <a:r>
              <a:rPr kumimoji="0" lang="en-AU" sz="1200" b="1" i="0" u="none" strike="noStrike" kern="1200" cap="none" spc="0" normalizeH="0" baseline="0" noProof="0" dirty="0">
                <a:ln>
                  <a:noFill/>
                </a:ln>
                <a:solidFill>
                  <a:srgbClr val="757575">
                    <a:lumMod val="75000"/>
                  </a:srgbClr>
                </a:solidFill>
                <a:effectLst/>
                <a:uLnTx/>
                <a:uFillTx/>
                <a:latin typeface="Arial" panose="020B0604020202020204" pitchFamily="34" charset="0"/>
                <a:ea typeface="+mn-ea"/>
                <a:cs typeface="Arial" panose="020B0604020202020204" pitchFamily="34" charset="0"/>
              </a:rPr>
              <a:t> </a:t>
            </a:r>
            <a:r>
              <a:rPr kumimoji="0" lang="en-AU" sz="1200" b="1" i="0" u="none" strike="noStrike" kern="1200" cap="none" spc="0" normalizeH="0" baseline="0" noProof="0" dirty="0" err="1">
                <a:ln>
                  <a:noFill/>
                </a:ln>
                <a:solidFill>
                  <a:srgbClr val="757575">
                    <a:lumMod val="75000"/>
                  </a:srgbClr>
                </a:solidFill>
                <a:effectLst/>
                <a:uLnTx/>
                <a:uFillTx/>
                <a:latin typeface="Arial" panose="020B0604020202020204" pitchFamily="34" charset="0"/>
                <a:ea typeface="+mn-ea"/>
                <a:cs typeface="Arial" panose="020B0604020202020204" pitchFamily="34" charset="0"/>
              </a:rPr>
              <a:t>skupnim</a:t>
            </a:r>
            <a:r>
              <a:rPr kumimoji="0" lang="en-AU" sz="1200" b="1" i="0" u="none" strike="noStrike" kern="1200" cap="none" spc="0" normalizeH="0" baseline="0" noProof="0" dirty="0">
                <a:ln>
                  <a:noFill/>
                </a:ln>
                <a:solidFill>
                  <a:srgbClr val="757575">
                    <a:lumMod val="75000"/>
                  </a:srgbClr>
                </a:solidFill>
                <a:effectLst/>
                <a:uLnTx/>
                <a:uFillTx/>
                <a:latin typeface="Arial" panose="020B0604020202020204" pitchFamily="34" charset="0"/>
                <a:ea typeface="+mn-ea"/>
                <a:cs typeface="Arial" panose="020B0604020202020204" pitchFamily="34" charset="0"/>
              </a:rPr>
              <a:t> </a:t>
            </a:r>
            <a:r>
              <a:rPr kumimoji="0" lang="en-AU" sz="1200" b="1" i="0" u="none" strike="noStrike" kern="1200" cap="none" spc="0" normalizeH="0" baseline="0" noProof="0" dirty="0" err="1">
                <a:ln>
                  <a:noFill/>
                </a:ln>
                <a:solidFill>
                  <a:srgbClr val="757575">
                    <a:lumMod val="75000"/>
                  </a:srgbClr>
                </a:solidFill>
                <a:effectLst/>
                <a:uLnTx/>
                <a:uFillTx/>
                <a:latin typeface="Arial" panose="020B0604020202020204" pitchFamily="34" charset="0"/>
                <a:ea typeface="+mn-ea"/>
                <a:cs typeface="Arial" panose="020B0604020202020204" pitchFamily="34" charset="0"/>
              </a:rPr>
              <a:t>ciljem</a:t>
            </a:r>
            <a:r>
              <a:rPr kumimoji="0" lang="en-AU" sz="1200" b="1" i="0" u="none" strike="noStrike" kern="1200" cap="none" spc="0" normalizeH="0" baseline="0" noProof="0" dirty="0">
                <a:ln>
                  <a:noFill/>
                </a:ln>
                <a:solidFill>
                  <a:srgbClr val="757575">
                    <a:lumMod val="75000"/>
                  </a:srgbClr>
                </a:solidFill>
                <a:effectLst/>
                <a:uLnTx/>
                <a:uFillTx/>
                <a:latin typeface="Arial" panose="020B0604020202020204" pitchFamily="34" charset="0"/>
                <a:ea typeface="+mn-ea"/>
                <a:cs typeface="Arial" panose="020B0604020202020204" pitchFamily="34" charset="0"/>
              </a:rPr>
              <a:t> – </a:t>
            </a:r>
            <a:r>
              <a:rPr kumimoji="0" lang="sl-SI" sz="1200" b="1" i="0" u="none" strike="noStrike" kern="1200" cap="none" spc="0" normalizeH="0" baseline="0" noProof="0" dirty="0">
                <a:ln>
                  <a:noFill/>
                </a:ln>
                <a:solidFill>
                  <a:srgbClr val="757575">
                    <a:lumMod val="75000"/>
                  </a:srgbClr>
                </a:solidFill>
                <a:effectLst/>
                <a:uLnTx/>
                <a:uFillTx/>
                <a:latin typeface="Arial" panose="020B0604020202020204" pitchFamily="34" charset="0"/>
                <a:ea typeface="+mn-ea"/>
                <a:cs typeface="Arial" panose="020B0604020202020204" pitchFamily="34" charset="0"/>
              </a:rPr>
              <a:t> </a:t>
            </a:r>
            <a:r>
              <a:rPr kumimoji="0" lang="en-AU" sz="1200" b="1" i="0" u="none" strike="noStrike" kern="1200" cap="none" spc="0" normalizeH="0" baseline="0" noProof="0" dirty="0" err="1">
                <a:ln>
                  <a:noFill/>
                </a:ln>
                <a:solidFill>
                  <a:srgbClr val="757575">
                    <a:lumMod val="75000"/>
                  </a:srgbClr>
                </a:solidFill>
                <a:effectLst/>
                <a:uLnTx/>
                <a:uFillTx/>
                <a:latin typeface="Arial" panose="020B0604020202020204" pitchFamily="34" charset="0"/>
                <a:ea typeface="+mn-ea"/>
                <a:cs typeface="Arial" panose="020B0604020202020204" pitchFamily="34" charset="0"/>
              </a:rPr>
              <a:t>opolnomočiti</a:t>
            </a:r>
            <a:r>
              <a:rPr kumimoji="0" lang="en-AU" sz="1200" b="1" i="0" u="none" strike="noStrike" kern="1200" cap="none" spc="0" normalizeH="0" baseline="0" noProof="0" dirty="0">
                <a:ln>
                  <a:noFill/>
                </a:ln>
                <a:solidFill>
                  <a:srgbClr val="757575">
                    <a:lumMod val="75000"/>
                  </a:srgbClr>
                </a:solidFill>
                <a:effectLst/>
                <a:uLnTx/>
                <a:uFillTx/>
                <a:latin typeface="Arial" panose="020B0604020202020204" pitchFamily="34" charset="0"/>
                <a:ea typeface="+mn-ea"/>
                <a:cs typeface="Arial" panose="020B0604020202020204" pitchFamily="34" charset="0"/>
              </a:rPr>
              <a:t> </a:t>
            </a:r>
            <a:r>
              <a:rPr kumimoji="0" lang="en-AU" sz="1200" b="1" i="0" u="none" strike="noStrike" kern="1200" cap="none" spc="0" normalizeH="0" baseline="0" noProof="0" dirty="0" err="1">
                <a:ln>
                  <a:noFill/>
                </a:ln>
                <a:solidFill>
                  <a:srgbClr val="757575">
                    <a:lumMod val="75000"/>
                  </a:srgbClr>
                </a:solidFill>
                <a:effectLst/>
                <a:uLnTx/>
                <a:uFillTx/>
                <a:latin typeface="Arial" panose="020B0604020202020204" pitchFamily="34" charset="0"/>
                <a:ea typeface="+mn-ea"/>
                <a:cs typeface="Arial" panose="020B0604020202020204" pitchFamily="34" charset="0"/>
              </a:rPr>
              <a:t>nas</a:t>
            </a:r>
            <a:r>
              <a:rPr kumimoji="0" lang="en-AU" sz="1200" b="1" i="0" u="none" strike="noStrike" kern="1200" cap="none" spc="0" normalizeH="0" baseline="0" noProof="0" dirty="0">
                <a:ln>
                  <a:noFill/>
                </a:ln>
                <a:solidFill>
                  <a:srgbClr val="757575">
                    <a:lumMod val="75000"/>
                  </a:srgbClr>
                </a:solidFill>
                <a:effectLst/>
                <a:uLnTx/>
                <a:uFillTx/>
                <a:latin typeface="Arial" panose="020B0604020202020204" pitchFamily="34" charset="0"/>
                <a:ea typeface="+mn-ea"/>
                <a:cs typeface="Arial" panose="020B0604020202020204" pitchFamily="34" charset="0"/>
              </a:rPr>
              <a:t> in </a:t>
            </a:r>
            <a:r>
              <a:rPr kumimoji="0" lang="en-AU" sz="1200" b="1" i="0" u="none" strike="noStrike" kern="1200" cap="none" spc="0" normalizeH="0" baseline="0" noProof="0" dirty="0" err="1">
                <a:ln>
                  <a:noFill/>
                </a:ln>
                <a:solidFill>
                  <a:srgbClr val="757575">
                    <a:lumMod val="75000"/>
                  </a:srgbClr>
                </a:solidFill>
                <a:effectLst/>
                <a:uLnTx/>
                <a:uFillTx/>
                <a:latin typeface="Arial" panose="020B0604020202020204" pitchFamily="34" charset="0"/>
                <a:ea typeface="+mn-ea"/>
                <a:cs typeface="Arial" panose="020B0604020202020204" pitchFamily="34" charset="0"/>
              </a:rPr>
              <a:t>naše</a:t>
            </a:r>
            <a:r>
              <a:rPr kumimoji="0" lang="en-AU" sz="1200" b="1" i="0" u="none" strike="noStrike" kern="1200" cap="none" spc="0" normalizeH="0" baseline="0" noProof="0" dirty="0">
                <a:ln>
                  <a:noFill/>
                </a:ln>
                <a:solidFill>
                  <a:srgbClr val="757575">
                    <a:lumMod val="75000"/>
                  </a:srgbClr>
                </a:solidFill>
                <a:effectLst/>
                <a:uLnTx/>
                <a:uFillTx/>
                <a:latin typeface="Arial" panose="020B0604020202020204" pitchFamily="34" charset="0"/>
                <a:ea typeface="+mn-ea"/>
                <a:cs typeface="Arial" panose="020B0604020202020204" pitchFamily="34" charset="0"/>
              </a:rPr>
              <a:t> </a:t>
            </a:r>
            <a:r>
              <a:rPr kumimoji="0" lang="en-AU" sz="1200" b="1" i="0" u="none" strike="noStrike" kern="1200" cap="none" spc="0" normalizeH="0" baseline="0" noProof="0" dirty="0" err="1">
                <a:ln>
                  <a:noFill/>
                </a:ln>
                <a:solidFill>
                  <a:srgbClr val="757575">
                    <a:lumMod val="75000"/>
                  </a:srgbClr>
                </a:solidFill>
                <a:effectLst/>
                <a:uLnTx/>
                <a:uFillTx/>
                <a:latin typeface="Arial" panose="020B0604020202020204" pitchFamily="34" charset="0"/>
                <a:ea typeface="+mn-ea"/>
                <a:cs typeface="Arial" panose="020B0604020202020204" pitchFamily="34" charset="0"/>
              </a:rPr>
              <a:t>deležnike</a:t>
            </a:r>
            <a:r>
              <a:rPr kumimoji="0" lang="en-AU" sz="1200" b="1" i="0" u="none" strike="noStrike" kern="1200" cap="none" spc="0" normalizeH="0" baseline="0" noProof="0" dirty="0">
                <a:ln>
                  <a:noFill/>
                </a:ln>
                <a:solidFill>
                  <a:srgbClr val="757575">
                    <a:lumMod val="75000"/>
                  </a:srgbClr>
                </a:solidFill>
                <a:effectLst/>
                <a:uLnTx/>
                <a:uFillTx/>
                <a:latin typeface="Arial" panose="020B0604020202020204" pitchFamily="34" charset="0"/>
                <a:ea typeface="+mn-ea"/>
                <a:cs typeface="Arial" panose="020B0604020202020204" pitchFamily="34" charset="0"/>
              </a:rPr>
              <a:t> za </a:t>
            </a:r>
            <a:r>
              <a:rPr kumimoji="0" lang="en-AU" sz="1200" b="1" i="0" u="none" strike="noStrike" kern="1200" cap="none" spc="0" normalizeH="0" baseline="0" noProof="0" dirty="0" err="1">
                <a:ln>
                  <a:noFill/>
                </a:ln>
                <a:solidFill>
                  <a:srgbClr val="757575">
                    <a:lumMod val="75000"/>
                  </a:srgbClr>
                </a:solidFill>
                <a:effectLst/>
                <a:uLnTx/>
                <a:uFillTx/>
                <a:latin typeface="Arial" panose="020B0604020202020204" pitchFamily="34" charset="0"/>
                <a:ea typeface="+mn-ea"/>
                <a:cs typeface="Arial" panose="020B0604020202020204" pitchFamily="34" charset="0"/>
              </a:rPr>
              <a:t>uspešen</a:t>
            </a:r>
            <a:r>
              <a:rPr kumimoji="0" lang="en-AU" sz="1200" b="1" i="0" u="none" strike="noStrike" kern="1200" cap="none" spc="0" normalizeH="0" baseline="0" noProof="0" dirty="0">
                <a:ln>
                  <a:noFill/>
                </a:ln>
                <a:solidFill>
                  <a:srgbClr val="757575">
                    <a:lumMod val="75000"/>
                  </a:srgbClr>
                </a:solidFill>
                <a:effectLst/>
                <a:uLnTx/>
                <a:uFillTx/>
                <a:latin typeface="Arial" panose="020B0604020202020204" pitchFamily="34" charset="0"/>
                <a:ea typeface="+mn-ea"/>
                <a:cs typeface="Arial" panose="020B0604020202020204" pitchFamily="34" charset="0"/>
              </a:rPr>
              <a:t> </a:t>
            </a:r>
            <a:r>
              <a:rPr kumimoji="0" lang="en-AU" sz="1200" b="1" i="0" u="none" strike="noStrike" kern="1200" cap="none" spc="0" normalizeH="0" baseline="0" noProof="0" dirty="0" err="1">
                <a:ln>
                  <a:noFill/>
                </a:ln>
                <a:solidFill>
                  <a:srgbClr val="757575">
                    <a:lumMod val="75000"/>
                  </a:srgbClr>
                </a:solidFill>
                <a:effectLst/>
                <a:uLnTx/>
                <a:uFillTx/>
                <a:latin typeface="Arial" panose="020B0604020202020204" pitchFamily="34" charset="0"/>
                <a:ea typeface="+mn-ea"/>
                <a:cs typeface="Arial" panose="020B0604020202020204" pitchFamily="34" charset="0"/>
              </a:rPr>
              <a:t>prehod</a:t>
            </a:r>
            <a:r>
              <a:rPr kumimoji="0" lang="en-AU" sz="1200" b="1" i="0" u="none" strike="noStrike" kern="1200" cap="none" spc="0" normalizeH="0" baseline="0" noProof="0" dirty="0">
                <a:ln>
                  <a:noFill/>
                </a:ln>
                <a:solidFill>
                  <a:srgbClr val="757575">
                    <a:lumMod val="75000"/>
                  </a:srgbClr>
                </a:solidFill>
                <a:effectLst/>
                <a:uLnTx/>
                <a:uFillTx/>
                <a:latin typeface="Arial" panose="020B0604020202020204" pitchFamily="34" charset="0"/>
                <a:ea typeface="+mn-ea"/>
                <a:cs typeface="Arial" panose="020B0604020202020204" pitchFamily="34" charset="0"/>
              </a:rPr>
              <a:t> v </a:t>
            </a:r>
            <a:r>
              <a:rPr kumimoji="0" lang="en-AU" sz="1200" b="1" i="0" u="none" strike="noStrike" kern="1200" cap="none" spc="0" normalizeH="0" baseline="0" noProof="0" dirty="0" err="1">
                <a:ln>
                  <a:noFill/>
                </a:ln>
                <a:solidFill>
                  <a:srgbClr val="757575">
                    <a:lumMod val="75000"/>
                  </a:srgbClr>
                </a:solidFill>
                <a:effectLst/>
                <a:uLnTx/>
                <a:uFillTx/>
                <a:latin typeface="Arial" panose="020B0604020202020204" pitchFamily="34" charset="0"/>
                <a:ea typeface="+mn-ea"/>
                <a:cs typeface="Arial" panose="020B0604020202020204" pitchFamily="34" charset="0"/>
              </a:rPr>
              <a:t>nizkoogljično</a:t>
            </a:r>
            <a:r>
              <a:rPr kumimoji="0" lang="en-AU" sz="1200" b="1" i="0" u="none" strike="noStrike" kern="1200" cap="none" spc="0" normalizeH="0" baseline="0" noProof="0" dirty="0">
                <a:ln>
                  <a:noFill/>
                </a:ln>
                <a:solidFill>
                  <a:srgbClr val="757575">
                    <a:lumMod val="75000"/>
                  </a:srgbClr>
                </a:solidFill>
                <a:effectLst/>
                <a:uLnTx/>
                <a:uFillTx/>
                <a:latin typeface="Arial" panose="020B0604020202020204" pitchFamily="34" charset="0"/>
                <a:ea typeface="+mn-ea"/>
                <a:cs typeface="Arial" panose="020B0604020202020204" pitchFamily="34" charset="0"/>
              </a:rPr>
              <a:t>, </a:t>
            </a:r>
            <a:r>
              <a:rPr kumimoji="0" lang="en-AU" sz="1200" b="1" i="0" u="none" strike="noStrike" kern="1200" cap="none" spc="0" normalizeH="0" baseline="0" noProof="0" dirty="0" err="1">
                <a:ln>
                  <a:noFill/>
                </a:ln>
                <a:solidFill>
                  <a:srgbClr val="757575">
                    <a:lumMod val="75000"/>
                  </a:srgbClr>
                </a:solidFill>
                <a:effectLst/>
                <a:uLnTx/>
                <a:uFillTx/>
                <a:latin typeface="Arial" panose="020B0604020202020204" pitchFamily="34" charset="0"/>
                <a:ea typeface="+mn-ea"/>
                <a:cs typeface="Arial" panose="020B0604020202020204" pitchFamily="34" charset="0"/>
              </a:rPr>
              <a:t>vključujočo</a:t>
            </a:r>
            <a:r>
              <a:rPr kumimoji="0" lang="en-AU" sz="1200" b="1" i="0" u="none" strike="noStrike" kern="1200" cap="none" spc="0" normalizeH="0" baseline="0" noProof="0" dirty="0">
                <a:ln>
                  <a:noFill/>
                </a:ln>
                <a:solidFill>
                  <a:srgbClr val="757575">
                    <a:lumMod val="75000"/>
                  </a:srgbClr>
                </a:solidFill>
                <a:effectLst/>
                <a:uLnTx/>
                <a:uFillTx/>
                <a:latin typeface="Arial" panose="020B0604020202020204" pitchFamily="34" charset="0"/>
                <a:ea typeface="+mn-ea"/>
                <a:cs typeface="Arial" panose="020B0604020202020204" pitchFamily="34" charset="0"/>
              </a:rPr>
              <a:t>, </a:t>
            </a:r>
            <a:r>
              <a:rPr kumimoji="0" lang="en-AU" sz="1200" b="1" i="0" u="none" strike="noStrike" kern="1200" cap="none" spc="0" normalizeH="0" baseline="0" noProof="0" dirty="0" err="1">
                <a:ln>
                  <a:noFill/>
                </a:ln>
                <a:solidFill>
                  <a:srgbClr val="757575">
                    <a:lumMod val="75000"/>
                  </a:srgbClr>
                </a:solidFill>
                <a:effectLst/>
                <a:uLnTx/>
                <a:uFillTx/>
                <a:latin typeface="Arial" panose="020B0604020202020204" pitchFamily="34" charset="0"/>
                <a:ea typeface="+mn-ea"/>
                <a:cs typeface="Arial" panose="020B0604020202020204" pitchFamily="34" charset="0"/>
              </a:rPr>
              <a:t>pravično</a:t>
            </a:r>
            <a:r>
              <a:rPr kumimoji="0" lang="en-AU" sz="1200" b="1" i="0" u="none" strike="noStrike" kern="1200" cap="none" spc="0" normalizeH="0" baseline="0" noProof="0" dirty="0">
                <a:ln>
                  <a:noFill/>
                </a:ln>
                <a:solidFill>
                  <a:srgbClr val="757575">
                    <a:lumMod val="75000"/>
                  </a:srgbClr>
                </a:solidFill>
                <a:effectLst/>
                <a:uLnTx/>
                <a:uFillTx/>
                <a:latin typeface="Arial" panose="020B0604020202020204" pitchFamily="34" charset="0"/>
                <a:ea typeface="+mn-ea"/>
                <a:cs typeface="Arial" panose="020B0604020202020204" pitchFamily="34" charset="0"/>
              </a:rPr>
              <a:t> in </a:t>
            </a:r>
            <a:r>
              <a:rPr kumimoji="0" lang="en-AU" sz="1200" b="1" i="0" u="none" strike="noStrike" kern="1200" cap="none" spc="0" normalizeH="0" baseline="0" noProof="0" dirty="0" err="1">
                <a:ln>
                  <a:noFill/>
                </a:ln>
                <a:solidFill>
                  <a:srgbClr val="757575">
                    <a:lumMod val="75000"/>
                  </a:srgbClr>
                </a:solidFill>
                <a:effectLst/>
                <a:uLnTx/>
                <a:uFillTx/>
                <a:latin typeface="Arial" panose="020B0604020202020204" pitchFamily="34" charset="0"/>
                <a:ea typeface="+mn-ea"/>
                <a:cs typeface="Arial" panose="020B0604020202020204" pitchFamily="34" charset="0"/>
              </a:rPr>
              <a:t>trajnostno</a:t>
            </a:r>
            <a:r>
              <a:rPr kumimoji="0" lang="en-AU" sz="1200" b="1" i="0" u="none" strike="noStrike" kern="1200" cap="none" spc="0" normalizeH="0" baseline="0" noProof="0" dirty="0">
                <a:ln>
                  <a:noFill/>
                </a:ln>
                <a:solidFill>
                  <a:srgbClr val="757575">
                    <a:lumMod val="75000"/>
                  </a:srgbClr>
                </a:solidFill>
                <a:effectLst/>
                <a:uLnTx/>
                <a:uFillTx/>
                <a:latin typeface="Arial" panose="020B0604020202020204" pitchFamily="34" charset="0"/>
                <a:ea typeface="+mn-ea"/>
                <a:cs typeface="Arial" panose="020B0604020202020204" pitchFamily="34" charset="0"/>
              </a:rPr>
              <a:t> </a:t>
            </a:r>
            <a:r>
              <a:rPr kumimoji="0" lang="en-AU" sz="1200" b="1" i="0" u="none" strike="noStrike" kern="1200" cap="none" spc="0" normalizeH="0" baseline="0" noProof="0" dirty="0" err="1">
                <a:ln>
                  <a:noFill/>
                </a:ln>
                <a:solidFill>
                  <a:srgbClr val="757575">
                    <a:lumMod val="75000"/>
                  </a:srgbClr>
                </a:solidFill>
                <a:effectLst/>
                <a:uLnTx/>
                <a:uFillTx/>
                <a:latin typeface="Arial" panose="020B0604020202020204" pitchFamily="34" charset="0"/>
                <a:ea typeface="+mn-ea"/>
                <a:cs typeface="Arial" panose="020B0604020202020204" pitchFamily="34" charset="0"/>
              </a:rPr>
              <a:t>prihodnost</a:t>
            </a:r>
            <a:endParaRPr kumimoji="0" lang="en-AU" sz="1200" b="0" i="0" u="none" strike="noStrike" kern="1200" cap="none" spc="0" normalizeH="0" baseline="0" noProof="0" dirty="0">
              <a:ln>
                <a:noFill/>
              </a:ln>
              <a:solidFill>
                <a:srgbClr val="757575">
                  <a:lumMod val="75000"/>
                </a:srgbClr>
              </a:solidFill>
              <a:effectLst/>
              <a:uLnTx/>
              <a:uFillTx/>
              <a:latin typeface="Arial" panose="020B0604020202020204" pitchFamily="34" charset="0"/>
              <a:ea typeface="+mn-ea"/>
              <a:cs typeface="Arial" panose="020B0604020202020204" pitchFamily="34" charset="0"/>
            </a:endParaRPr>
          </a:p>
        </p:txBody>
      </p:sp>
      <p:cxnSp>
        <p:nvCxnSpPr>
          <p:cNvPr id="7" name="Straight Connector 6">
            <a:extLst>
              <a:ext uri="{FF2B5EF4-FFF2-40B4-BE49-F238E27FC236}">
                <a16:creationId xmlns:a16="http://schemas.microsoft.com/office/drawing/2014/main" id="{31242475-1C6B-4ABB-9939-DF96BEFC982A}"/>
              </a:ext>
            </a:extLst>
          </p:cNvPr>
          <p:cNvCxnSpPr>
            <a:cxnSpLocks/>
          </p:cNvCxnSpPr>
          <p:nvPr/>
        </p:nvCxnSpPr>
        <p:spPr>
          <a:xfrm>
            <a:off x="623392" y="3600658"/>
            <a:ext cx="9354223" cy="24337"/>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sp>
        <p:nvSpPr>
          <p:cNvPr id="8" name="Flowchart: Connector 7">
            <a:extLst>
              <a:ext uri="{FF2B5EF4-FFF2-40B4-BE49-F238E27FC236}">
                <a16:creationId xmlns:a16="http://schemas.microsoft.com/office/drawing/2014/main" id="{0B5A652E-856A-4B75-82C7-AD8D67349A2C}"/>
              </a:ext>
            </a:extLst>
          </p:cNvPr>
          <p:cNvSpPr/>
          <p:nvPr/>
        </p:nvSpPr>
        <p:spPr>
          <a:xfrm>
            <a:off x="876602" y="3252826"/>
            <a:ext cx="720000" cy="72000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l-SI" sz="1000" b="1" dirty="0"/>
              <a:t>Do</a:t>
            </a:r>
            <a:r>
              <a:rPr lang="en-US" sz="1000" b="1" dirty="0"/>
              <a:t> 2020</a:t>
            </a:r>
          </a:p>
        </p:txBody>
      </p:sp>
      <p:sp>
        <p:nvSpPr>
          <p:cNvPr id="13" name="Flowchart: Connector 12">
            <a:extLst>
              <a:ext uri="{FF2B5EF4-FFF2-40B4-BE49-F238E27FC236}">
                <a16:creationId xmlns:a16="http://schemas.microsoft.com/office/drawing/2014/main" id="{2857906B-62D7-49C8-AD47-476423EC7BD3}"/>
              </a:ext>
            </a:extLst>
          </p:cNvPr>
          <p:cNvSpPr/>
          <p:nvPr/>
        </p:nvSpPr>
        <p:spPr>
          <a:xfrm>
            <a:off x="3597712" y="3311363"/>
            <a:ext cx="719994" cy="715145"/>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2020</a:t>
            </a:r>
          </a:p>
        </p:txBody>
      </p:sp>
      <p:sp>
        <p:nvSpPr>
          <p:cNvPr id="15" name="Flowchart: Connector 14">
            <a:extLst>
              <a:ext uri="{FF2B5EF4-FFF2-40B4-BE49-F238E27FC236}">
                <a16:creationId xmlns:a16="http://schemas.microsoft.com/office/drawing/2014/main" id="{A472E6C9-65E9-44D1-B7E5-AFEDD5185FD0}"/>
              </a:ext>
            </a:extLst>
          </p:cNvPr>
          <p:cNvSpPr/>
          <p:nvPr/>
        </p:nvSpPr>
        <p:spPr>
          <a:xfrm>
            <a:off x="6371215" y="3343099"/>
            <a:ext cx="720000" cy="692175"/>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2021</a:t>
            </a:r>
          </a:p>
        </p:txBody>
      </p:sp>
      <p:sp>
        <p:nvSpPr>
          <p:cNvPr id="16" name="Flowchart: Connector 15">
            <a:extLst>
              <a:ext uri="{FF2B5EF4-FFF2-40B4-BE49-F238E27FC236}">
                <a16:creationId xmlns:a16="http://schemas.microsoft.com/office/drawing/2014/main" id="{614D0D11-B7C5-4357-8447-A8C6E38BD9D9}"/>
              </a:ext>
            </a:extLst>
          </p:cNvPr>
          <p:cNvSpPr/>
          <p:nvPr/>
        </p:nvSpPr>
        <p:spPr>
          <a:xfrm>
            <a:off x="8952295" y="3303199"/>
            <a:ext cx="720000" cy="72000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2022</a:t>
            </a:r>
          </a:p>
        </p:txBody>
      </p:sp>
      <p:sp>
        <p:nvSpPr>
          <p:cNvPr id="17" name="Flowchart: Connector 16">
            <a:extLst>
              <a:ext uri="{FF2B5EF4-FFF2-40B4-BE49-F238E27FC236}">
                <a16:creationId xmlns:a16="http://schemas.microsoft.com/office/drawing/2014/main" id="{759E7C3B-4848-441B-AA31-F782D93249A6}"/>
              </a:ext>
            </a:extLst>
          </p:cNvPr>
          <p:cNvSpPr/>
          <p:nvPr/>
        </p:nvSpPr>
        <p:spPr>
          <a:xfrm>
            <a:off x="10394225" y="3068977"/>
            <a:ext cx="1139149" cy="107102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l-SI" sz="1000" b="1" dirty="0" err="1">
                <a:solidFill>
                  <a:schemeClr val="bg1"/>
                </a:solidFill>
              </a:rPr>
              <a:t>Roadmap</a:t>
            </a:r>
            <a:r>
              <a:rPr lang="sl-SI" sz="1000" b="1" dirty="0">
                <a:solidFill>
                  <a:schemeClr val="bg1"/>
                </a:solidFill>
              </a:rPr>
              <a:t> </a:t>
            </a:r>
            <a:r>
              <a:rPr lang="sl-SI" sz="1000" b="1" dirty="0" err="1">
                <a:solidFill>
                  <a:schemeClr val="bg1"/>
                </a:solidFill>
              </a:rPr>
              <a:t>for</a:t>
            </a:r>
            <a:r>
              <a:rPr lang="sl-SI" sz="1000" b="1" dirty="0">
                <a:solidFill>
                  <a:schemeClr val="bg1"/>
                </a:solidFill>
              </a:rPr>
              <a:t> </a:t>
            </a:r>
            <a:r>
              <a:rPr lang="en-US" sz="1000" b="1" dirty="0">
                <a:solidFill>
                  <a:schemeClr val="bg1"/>
                </a:solidFill>
              </a:rPr>
              <a:t>2023</a:t>
            </a:r>
          </a:p>
        </p:txBody>
      </p:sp>
      <p:cxnSp>
        <p:nvCxnSpPr>
          <p:cNvPr id="30" name="Straight Connector 29">
            <a:extLst>
              <a:ext uri="{FF2B5EF4-FFF2-40B4-BE49-F238E27FC236}">
                <a16:creationId xmlns:a16="http://schemas.microsoft.com/office/drawing/2014/main" id="{D67A748A-1DD0-46F9-87BC-1A657EA4A66C}"/>
              </a:ext>
            </a:extLst>
          </p:cNvPr>
          <p:cNvCxnSpPr>
            <a:cxnSpLocks/>
          </p:cNvCxnSpPr>
          <p:nvPr/>
        </p:nvCxnSpPr>
        <p:spPr>
          <a:xfrm>
            <a:off x="3935760" y="4140004"/>
            <a:ext cx="0" cy="264358"/>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2856EA4C-532B-4D98-8F6B-EBD0D8773B97}"/>
              </a:ext>
            </a:extLst>
          </p:cNvPr>
          <p:cNvSpPr/>
          <p:nvPr/>
        </p:nvSpPr>
        <p:spPr>
          <a:xfrm>
            <a:off x="119339" y="1255385"/>
            <a:ext cx="3096341" cy="181359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l-SI" sz="1050" b="1" dirty="0">
                <a:solidFill>
                  <a:srgbClr val="757575"/>
                </a:solidFill>
              </a:rPr>
              <a:t>NLB je upoštevala cilje  trajnostnega razvoja OZN.  Ad hoc upravljanje zadev,  povezanih s trajnostjo, v različnih organizacijskih  enotah NLB Skupine. </a:t>
            </a:r>
          </a:p>
          <a:p>
            <a:pPr algn="ctr"/>
            <a:endParaRPr lang="sl-SI" sz="1050" b="1" dirty="0">
              <a:solidFill>
                <a:srgbClr val="757575"/>
              </a:solidFill>
            </a:endParaRPr>
          </a:p>
          <a:p>
            <a:pPr algn="ctr"/>
            <a:r>
              <a:rPr lang="sl-SI" sz="1050" b="1" dirty="0">
                <a:solidFill>
                  <a:srgbClr val="757575"/>
                </a:solidFill>
              </a:rPr>
              <a:t>Osnovna poročevalska praksa: </a:t>
            </a:r>
          </a:p>
          <a:p>
            <a:pPr algn="ctr"/>
            <a:r>
              <a:rPr lang="sl-SI" sz="1050" b="1" dirty="0">
                <a:solidFill>
                  <a:srgbClr val="757575"/>
                </a:solidFill>
              </a:rPr>
              <a:t>CSR/nefinančno poročilo,  objavljeno kot samostojen dokument, z vključenimi GRI </a:t>
            </a:r>
          </a:p>
          <a:p>
            <a:pPr algn="ctr"/>
            <a:r>
              <a:rPr lang="sl-SI" sz="1050" b="1" dirty="0">
                <a:solidFill>
                  <a:srgbClr val="757575"/>
                </a:solidFill>
              </a:rPr>
              <a:t>standardi.</a:t>
            </a:r>
            <a:endParaRPr lang="sl-SI" sz="1050" dirty="0">
              <a:solidFill>
                <a:srgbClr val="757575"/>
              </a:solidFill>
            </a:endParaRPr>
          </a:p>
        </p:txBody>
      </p:sp>
      <p:sp>
        <p:nvSpPr>
          <p:cNvPr id="42" name="Rectangle 41">
            <a:extLst>
              <a:ext uri="{FF2B5EF4-FFF2-40B4-BE49-F238E27FC236}">
                <a16:creationId xmlns:a16="http://schemas.microsoft.com/office/drawing/2014/main" id="{7674E0EF-9CD5-4ABE-8273-8BDF8FB843C5}"/>
              </a:ext>
            </a:extLst>
          </p:cNvPr>
          <p:cNvSpPr/>
          <p:nvPr/>
        </p:nvSpPr>
        <p:spPr>
          <a:xfrm>
            <a:off x="4762939" y="1264320"/>
            <a:ext cx="3958271" cy="153809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l-SI" sz="900" b="1" dirty="0">
                <a:solidFill>
                  <a:srgbClr val="757575"/>
                </a:solidFill>
              </a:rPr>
              <a:t>N</a:t>
            </a:r>
            <a:r>
              <a:rPr lang="sl-SI" sz="1000" dirty="0">
                <a:solidFill>
                  <a:srgbClr val="757575"/>
                </a:solidFill>
              </a:rPr>
              <a:t>LB Skupina je s Programom trajnostnega razvoja trajnostno </a:t>
            </a:r>
          </a:p>
          <a:p>
            <a:pPr algn="ctr"/>
            <a:r>
              <a:rPr lang="sl-SI" sz="1000" dirty="0">
                <a:solidFill>
                  <a:srgbClr val="757575"/>
                </a:solidFill>
              </a:rPr>
              <a:t>poslovanje zasidrala na različnih ravneh v okviru Skupine. </a:t>
            </a:r>
          </a:p>
          <a:p>
            <a:pPr algn="ctr"/>
            <a:r>
              <a:rPr lang="sl-SI" sz="1000" b="1" dirty="0">
                <a:solidFill>
                  <a:srgbClr val="757575"/>
                </a:solidFill>
              </a:rPr>
              <a:t>Celovit Okvir trajnostnega  razvoja NLB Skupine </a:t>
            </a:r>
            <a:r>
              <a:rPr lang="sl-SI" sz="1000" dirty="0">
                <a:solidFill>
                  <a:srgbClr val="757575"/>
                </a:solidFill>
              </a:rPr>
              <a:t>pripravljen </a:t>
            </a:r>
          </a:p>
          <a:p>
            <a:pPr algn="ctr"/>
            <a:r>
              <a:rPr lang="sl-SI" sz="1000" dirty="0">
                <a:solidFill>
                  <a:srgbClr val="757575"/>
                </a:solidFill>
              </a:rPr>
              <a:t>in objavljen na </a:t>
            </a:r>
            <a:r>
              <a:rPr lang="sl-SI" sz="1000" dirty="0">
                <a:solidFill>
                  <a:srgbClr val="757575"/>
                </a:solidFill>
                <a:hlinkClick r:id="rId6"/>
              </a:rPr>
              <a:t>www.nlb.si</a:t>
            </a:r>
            <a:r>
              <a:rPr lang="sl-SI" sz="1000" dirty="0">
                <a:solidFill>
                  <a:srgbClr val="757575"/>
                </a:solidFill>
              </a:rPr>
              <a:t>. </a:t>
            </a:r>
          </a:p>
          <a:p>
            <a:pPr algn="ctr"/>
            <a:endParaRPr lang="sl-SI" sz="1000" dirty="0">
              <a:solidFill>
                <a:srgbClr val="757575"/>
              </a:solidFill>
            </a:endParaRPr>
          </a:p>
          <a:p>
            <a:pPr algn="ctr"/>
            <a:r>
              <a:rPr lang="sl-SI" sz="1000" dirty="0">
                <a:solidFill>
                  <a:srgbClr val="757575"/>
                </a:solidFill>
              </a:rPr>
              <a:t>Izdelano </a:t>
            </a:r>
            <a:r>
              <a:rPr lang="sl-SI" sz="1000" b="1" dirty="0">
                <a:solidFill>
                  <a:srgbClr val="757575"/>
                </a:solidFill>
              </a:rPr>
              <a:t>2. poročilo o trajnostnem razvoju NLB Skupine</a:t>
            </a:r>
            <a:r>
              <a:rPr lang="sl-SI" sz="1000" dirty="0">
                <a:solidFill>
                  <a:srgbClr val="757575"/>
                </a:solidFill>
              </a:rPr>
              <a:t>; vključeni dodatni poročevalski okviri: (UN  PRB, Taksonomija EU). </a:t>
            </a:r>
          </a:p>
          <a:p>
            <a:pPr algn="ctr"/>
            <a:endParaRPr lang="sl-SI" sz="1000" dirty="0">
              <a:solidFill>
                <a:srgbClr val="757575"/>
              </a:solidFill>
            </a:endParaRPr>
          </a:p>
          <a:p>
            <a:pPr algn="ctr"/>
            <a:r>
              <a:rPr lang="sl-SI" sz="1000" dirty="0">
                <a:solidFill>
                  <a:srgbClr val="757575"/>
                </a:solidFill>
              </a:rPr>
              <a:t>Izdelano 1. poročilo o  operativnem </a:t>
            </a:r>
            <a:r>
              <a:rPr lang="sl-SI" sz="1000" dirty="0" err="1">
                <a:solidFill>
                  <a:srgbClr val="757575"/>
                </a:solidFill>
              </a:rPr>
              <a:t>ogljičnem</a:t>
            </a:r>
            <a:r>
              <a:rPr lang="sl-SI" sz="1000" dirty="0">
                <a:solidFill>
                  <a:srgbClr val="757575"/>
                </a:solidFill>
              </a:rPr>
              <a:t> odtisu poslovanja NLB Skupine  pripravljeno in potrjeno s strani  zunanje institucije</a:t>
            </a:r>
            <a:r>
              <a:rPr lang="en-US" sz="1000" dirty="0">
                <a:solidFill>
                  <a:srgbClr val="757575"/>
                </a:solidFill>
              </a:rPr>
              <a:t>.</a:t>
            </a:r>
          </a:p>
        </p:txBody>
      </p:sp>
      <p:sp>
        <p:nvSpPr>
          <p:cNvPr id="43" name="Rectangle 42">
            <a:extLst>
              <a:ext uri="{FF2B5EF4-FFF2-40B4-BE49-F238E27FC236}">
                <a16:creationId xmlns:a16="http://schemas.microsoft.com/office/drawing/2014/main" id="{385A6736-39A3-4964-8652-2E4E2A5DDE31}"/>
              </a:ext>
            </a:extLst>
          </p:cNvPr>
          <p:cNvSpPr/>
          <p:nvPr/>
        </p:nvSpPr>
        <p:spPr>
          <a:xfrm>
            <a:off x="1577755" y="4351075"/>
            <a:ext cx="4327585" cy="200094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l-SI" sz="1000" dirty="0">
                <a:solidFill>
                  <a:srgbClr val="757575"/>
                </a:solidFill>
              </a:rPr>
              <a:t>NLB se je kot prva banka v Sloveniji pridružila UNEP FI – </a:t>
            </a:r>
            <a:r>
              <a:rPr lang="sl-SI" sz="1000" b="1" dirty="0">
                <a:solidFill>
                  <a:srgbClr val="757575"/>
                </a:solidFill>
              </a:rPr>
              <a:t>Načelom odgovornega bančništva.</a:t>
            </a:r>
            <a:r>
              <a:rPr lang="sl-SI" sz="1000" dirty="0">
                <a:solidFill>
                  <a:srgbClr val="757575"/>
                </a:solidFill>
              </a:rPr>
              <a:t> Pripravljen </a:t>
            </a:r>
            <a:r>
              <a:rPr lang="sl-SI" sz="1000" b="1" dirty="0">
                <a:solidFill>
                  <a:srgbClr val="757575"/>
                </a:solidFill>
              </a:rPr>
              <a:t>program trajnostnega </a:t>
            </a:r>
          </a:p>
          <a:p>
            <a:pPr algn="ctr"/>
            <a:r>
              <a:rPr lang="sl-SI" sz="1000" b="1" dirty="0">
                <a:solidFill>
                  <a:srgbClr val="757575"/>
                </a:solidFill>
              </a:rPr>
              <a:t>razvoja NLB Skupine </a:t>
            </a:r>
            <a:r>
              <a:rPr lang="sl-SI" sz="1000" dirty="0">
                <a:solidFill>
                  <a:srgbClr val="757575"/>
                </a:solidFill>
              </a:rPr>
              <a:t>kot pobuda po vsej skupini, začelo se je uvajanje trajnosti v poslovni model. </a:t>
            </a:r>
          </a:p>
          <a:p>
            <a:pPr algn="ctr"/>
            <a:endParaRPr lang="sl-SI" sz="1000" dirty="0">
              <a:solidFill>
                <a:srgbClr val="757575"/>
              </a:solidFill>
            </a:endParaRPr>
          </a:p>
          <a:p>
            <a:pPr algn="ctr"/>
            <a:r>
              <a:rPr lang="sl-SI" sz="1000" dirty="0">
                <a:solidFill>
                  <a:srgbClr val="757575"/>
                </a:solidFill>
              </a:rPr>
              <a:t>Objavljeno </a:t>
            </a:r>
            <a:r>
              <a:rPr lang="sl-SI" sz="1000" b="1" dirty="0">
                <a:solidFill>
                  <a:srgbClr val="757575"/>
                </a:solidFill>
              </a:rPr>
              <a:t>1. poročilo o trajnostnem razvoju NLB Skupine </a:t>
            </a:r>
            <a:r>
              <a:rPr lang="sl-SI" sz="1000" dirty="0">
                <a:solidFill>
                  <a:srgbClr val="757575"/>
                </a:solidFill>
              </a:rPr>
              <a:t>z jasnim </a:t>
            </a:r>
          </a:p>
          <a:p>
            <a:pPr algn="ctr"/>
            <a:r>
              <a:rPr lang="sl-SI" sz="1000" dirty="0">
                <a:solidFill>
                  <a:srgbClr val="757575"/>
                </a:solidFill>
              </a:rPr>
              <a:t>poudarkom na dejavnikih ESC.  Korporativno upravljanje banke je okrepljeno, saj je trajnostno  poslovanje zasidrano na različnih ravneh znotraj banke (uprava, nadzorni svet in raven Skupine, pa tudi raven dejavnosti in držav), kar zagotavlja, da je deležno pozornosti najvišjih organov odločanja in je  hkrati močno vključeno v naše vsakodnevno poslovanje.</a:t>
            </a:r>
          </a:p>
        </p:txBody>
      </p:sp>
      <p:sp>
        <p:nvSpPr>
          <p:cNvPr id="44" name="Rectangle 43">
            <a:extLst>
              <a:ext uri="{FF2B5EF4-FFF2-40B4-BE49-F238E27FC236}">
                <a16:creationId xmlns:a16="http://schemas.microsoft.com/office/drawing/2014/main" id="{69F13AB5-9520-4938-A609-62C952029448}"/>
              </a:ext>
            </a:extLst>
          </p:cNvPr>
          <p:cNvSpPr/>
          <p:nvPr/>
        </p:nvSpPr>
        <p:spPr>
          <a:xfrm>
            <a:off x="6960097" y="4437463"/>
            <a:ext cx="4763902" cy="195288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l-SI" sz="1000" b="1" dirty="0">
                <a:solidFill>
                  <a:srgbClr val="757575"/>
                </a:solidFill>
              </a:rPr>
              <a:t>NLB se je pridružila UNEP FI –  Zavezništvu za podnebno  nevtralno bančništvo (Net </a:t>
            </a:r>
            <a:r>
              <a:rPr lang="sl-SI" sz="1000" b="1" dirty="0" err="1">
                <a:solidFill>
                  <a:srgbClr val="757575"/>
                </a:solidFill>
              </a:rPr>
              <a:t>Zero</a:t>
            </a:r>
            <a:r>
              <a:rPr lang="sl-SI" sz="1000" b="1" dirty="0">
                <a:solidFill>
                  <a:srgbClr val="757575"/>
                </a:solidFill>
              </a:rPr>
              <a:t> </a:t>
            </a:r>
            <a:r>
              <a:rPr lang="sl-SI" sz="1000" b="1" dirty="0" err="1">
                <a:solidFill>
                  <a:srgbClr val="757575"/>
                </a:solidFill>
              </a:rPr>
              <a:t>Banking</a:t>
            </a:r>
            <a:r>
              <a:rPr lang="sl-SI" sz="1000" b="1" dirty="0">
                <a:solidFill>
                  <a:srgbClr val="757575"/>
                </a:solidFill>
              </a:rPr>
              <a:t> </a:t>
            </a:r>
            <a:r>
              <a:rPr lang="sl-SI" sz="1000" b="1" dirty="0" err="1">
                <a:solidFill>
                  <a:srgbClr val="757575"/>
                </a:solidFill>
              </a:rPr>
              <a:t>Alliance</a:t>
            </a:r>
            <a:r>
              <a:rPr lang="sl-SI" sz="1000" b="1" dirty="0">
                <a:solidFill>
                  <a:srgbClr val="757575"/>
                </a:solidFill>
              </a:rPr>
              <a:t>, NZBA).</a:t>
            </a:r>
          </a:p>
          <a:p>
            <a:pPr algn="ctr"/>
            <a:endParaRPr lang="sl-SI" sz="1000" b="1" dirty="0">
              <a:solidFill>
                <a:srgbClr val="757575"/>
              </a:solidFill>
            </a:endParaRPr>
          </a:p>
          <a:p>
            <a:pPr algn="ctr"/>
            <a:r>
              <a:rPr lang="sl-SI" sz="1000" b="1" dirty="0">
                <a:solidFill>
                  <a:srgbClr val="757575"/>
                </a:solidFill>
              </a:rPr>
              <a:t>Izdelano 3. poročilo o trajnostnem razvoju NLB Skupine; vključeni dodatni  poročevalski okvir: TCFD (delna razkritja, ki se nanašajo na priporočila). </a:t>
            </a:r>
          </a:p>
          <a:p>
            <a:pPr algn="ctr"/>
            <a:endParaRPr lang="sl-SI" sz="1000" b="1" dirty="0">
              <a:solidFill>
                <a:srgbClr val="757575"/>
              </a:solidFill>
            </a:endParaRPr>
          </a:p>
          <a:p>
            <a:pPr algn="ctr"/>
            <a:r>
              <a:rPr lang="sl-SI" sz="1000" b="1" dirty="0">
                <a:solidFill>
                  <a:srgbClr val="757575"/>
                </a:solidFill>
              </a:rPr>
              <a:t>Izdelano 2. poročilo o operativnem </a:t>
            </a:r>
            <a:r>
              <a:rPr lang="sl-SI" sz="1000" b="1" dirty="0" err="1">
                <a:solidFill>
                  <a:srgbClr val="757575"/>
                </a:solidFill>
              </a:rPr>
              <a:t>ogljičnem</a:t>
            </a:r>
            <a:r>
              <a:rPr lang="sl-SI" sz="1000" b="1" dirty="0">
                <a:solidFill>
                  <a:srgbClr val="757575"/>
                </a:solidFill>
              </a:rPr>
              <a:t> odtisu poslovanja NLB Skupine pripravljeno in potrjeno  s strani zunanje institucije.</a:t>
            </a:r>
          </a:p>
          <a:p>
            <a:pPr algn="ctr"/>
            <a:endParaRPr lang="sl-SI" sz="1000" b="1" dirty="0">
              <a:solidFill>
                <a:srgbClr val="757575"/>
              </a:solidFill>
            </a:endParaRPr>
          </a:p>
          <a:p>
            <a:pPr algn="ctr"/>
            <a:r>
              <a:rPr lang="sl-SI" sz="1000" b="1" dirty="0">
                <a:solidFill>
                  <a:srgbClr val="757575"/>
                </a:solidFill>
              </a:rPr>
              <a:t>NLB je prejela svojo prvo oceno ESG </a:t>
            </a:r>
          </a:p>
          <a:p>
            <a:pPr algn="ctr"/>
            <a:r>
              <a:rPr lang="sl-SI" sz="1000" b="1" dirty="0">
                <a:solidFill>
                  <a:srgbClr val="757575"/>
                </a:solidFill>
              </a:rPr>
              <a:t>s strani družbe </a:t>
            </a:r>
            <a:r>
              <a:rPr lang="sl-SI" sz="1000" b="1" dirty="0" err="1">
                <a:solidFill>
                  <a:srgbClr val="757575"/>
                </a:solidFill>
              </a:rPr>
              <a:t>Sustainalytics</a:t>
            </a:r>
            <a:r>
              <a:rPr lang="sl-SI" sz="1000" b="1" dirty="0">
                <a:solidFill>
                  <a:srgbClr val="757575"/>
                </a:solidFill>
              </a:rPr>
              <a:t>.</a:t>
            </a:r>
            <a:endParaRPr lang="sl-SI" sz="900" dirty="0">
              <a:solidFill>
                <a:srgbClr val="757575"/>
              </a:solidFill>
            </a:endParaRPr>
          </a:p>
        </p:txBody>
      </p:sp>
      <p:cxnSp>
        <p:nvCxnSpPr>
          <p:cNvPr id="37" name="Straight Connector 36">
            <a:extLst>
              <a:ext uri="{FF2B5EF4-FFF2-40B4-BE49-F238E27FC236}">
                <a16:creationId xmlns:a16="http://schemas.microsoft.com/office/drawing/2014/main" id="{48CAA4B6-5C95-4566-BEB0-7360A300F9CE}"/>
              </a:ext>
            </a:extLst>
          </p:cNvPr>
          <p:cNvCxnSpPr>
            <a:cxnSpLocks/>
          </p:cNvCxnSpPr>
          <p:nvPr/>
        </p:nvCxnSpPr>
        <p:spPr>
          <a:xfrm>
            <a:off x="6744072" y="2976334"/>
            <a:ext cx="0" cy="264358"/>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80F375D-A346-45A5-914F-00A6009AE469}"/>
              </a:ext>
            </a:extLst>
          </p:cNvPr>
          <p:cNvCxnSpPr>
            <a:cxnSpLocks/>
          </p:cNvCxnSpPr>
          <p:nvPr/>
        </p:nvCxnSpPr>
        <p:spPr>
          <a:xfrm>
            <a:off x="1472195" y="3024181"/>
            <a:ext cx="0" cy="29510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36DF2DCE-1D5E-4E20-945B-643EDEAAA324}"/>
              </a:ext>
            </a:extLst>
          </p:cNvPr>
          <p:cNvCxnSpPr>
            <a:cxnSpLocks/>
          </p:cNvCxnSpPr>
          <p:nvPr/>
        </p:nvCxnSpPr>
        <p:spPr>
          <a:xfrm>
            <a:off x="9336360" y="4149080"/>
            <a:ext cx="0" cy="264358"/>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303C471C-2BCD-476B-A421-4D5CA9E2FD98}"/>
              </a:ext>
            </a:extLst>
          </p:cNvPr>
          <p:cNvCxnSpPr>
            <a:cxnSpLocks/>
          </p:cNvCxnSpPr>
          <p:nvPr/>
        </p:nvCxnSpPr>
        <p:spPr>
          <a:xfrm>
            <a:off x="9749502" y="3621490"/>
            <a:ext cx="59831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0643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3">
            <a:extLst>
              <a:ext uri="{FF2B5EF4-FFF2-40B4-BE49-F238E27FC236}">
                <a16:creationId xmlns:a16="http://schemas.microsoft.com/office/drawing/2014/main" id="{B9C960BD-FABF-4722-8509-9C1B9C28A7B4}"/>
              </a:ext>
            </a:extLst>
          </p:cNvPr>
          <p:cNvPicPr>
            <a:picLocks noChangeAspect="1"/>
          </p:cNvPicPr>
          <p:nvPr/>
        </p:nvPicPr>
        <p:blipFill>
          <a:blip r:embed="rId4"/>
          <a:stretch>
            <a:fillRect/>
          </a:stretch>
        </p:blipFill>
        <p:spPr>
          <a:xfrm>
            <a:off x="4648912" y="1753006"/>
            <a:ext cx="3034035" cy="3025583"/>
          </a:xfrm>
          <a:prstGeom prst="ellipse">
            <a:avLst/>
          </a:prstGeom>
          <a:ln w="38100">
            <a:solidFill>
              <a:schemeClr val="accent1"/>
            </a:solidFill>
          </a:ln>
        </p:spPr>
      </p:pic>
      <p:sp>
        <p:nvSpPr>
          <p:cNvPr id="13" name="Rectangle 12">
            <a:extLst>
              <a:ext uri="{FF2B5EF4-FFF2-40B4-BE49-F238E27FC236}">
                <a16:creationId xmlns:a16="http://schemas.microsoft.com/office/drawing/2014/main" id="{50CDE6E5-9F9E-41A6-8B89-CFAAA71A78C2}"/>
              </a:ext>
            </a:extLst>
          </p:cNvPr>
          <p:cNvSpPr/>
          <p:nvPr/>
        </p:nvSpPr>
        <p:spPr>
          <a:xfrm>
            <a:off x="782098" y="1363961"/>
            <a:ext cx="3416392" cy="17423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72000" rtlCol="0" anchor="t">
            <a:spAutoFit/>
          </a:bodyPr>
          <a:lstStyle/>
          <a:p>
            <a:pPr marL="171450" indent="-171450">
              <a:spcAft>
                <a:spcPts val="300"/>
              </a:spcAft>
              <a:buFont typeface="Wingdings" panose="05000000000000000000" pitchFamily="2" charset="2"/>
              <a:buChar char="§"/>
            </a:pPr>
            <a:r>
              <a:rPr lang="en-GB" sz="1100" dirty="0" err="1">
                <a:solidFill>
                  <a:srgbClr val="757575"/>
                </a:solidFill>
              </a:rPr>
              <a:t>Vlagatelji</a:t>
            </a:r>
            <a:endParaRPr lang="en-GB" sz="1100" dirty="0">
              <a:solidFill>
                <a:srgbClr val="757575"/>
              </a:solidFill>
            </a:endParaRPr>
          </a:p>
          <a:p>
            <a:pPr marL="171450" indent="-171450">
              <a:spcAft>
                <a:spcPts val="300"/>
              </a:spcAft>
              <a:buFont typeface="Wingdings" panose="05000000000000000000" pitchFamily="2" charset="2"/>
              <a:buChar char="§"/>
            </a:pPr>
            <a:r>
              <a:rPr lang="en-GB" sz="1100" dirty="0" err="1">
                <a:solidFill>
                  <a:srgbClr val="757575"/>
                </a:solidFill>
              </a:rPr>
              <a:t>Zaposleni</a:t>
            </a:r>
            <a:endParaRPr lang="en-GB" sz="1100" dirty="0">
              <a:solidFill>
                <a:srgbClr val="757575"/>
              </a:solidFill>
            </a:endParaRPr>
          </a:p>
          <a:p>
            <a:pPr marL="171450" indent="-171450">
              <a:spcAft>
                <a:spcPts val="300"/>
              </a:spcAft>
              <a:buFont typeface="Wingdings" panose="05000000000000000000" pitchFamily="2" charset="2"/>
              <a:buChar char="§"/>
            </a:pPr>
            <a:r>
              <a:rPr lang="en-GB" sz="1100" dirty="0" err="1">
                <a:solidFill>
                  <a:srgbClr val="757575"/>
                </a:solidFill>
              </a:rPr>
              <a:t>Zasebniki</a:t>
            </a:r>
            <a:r>
              <a:rPr lang="en-GB" sz="1100" dirty="0">
                <a:solidFill>
                  <a:srgbClr val="757575"/>
                </a:solidFill>
              </a:rPr>
              <a:t>/</a:t>
            </a:r>
            <a:r>
              <a:rPr lang="en-GB" sz="1100" dirty="0" err="1">
                <a:solidFill>
                  <a:srgbClr val="757575"/>
                </a:solidFill>
              </a:rPr>
              <a:t>fizične</a:t>
            </a:r>
            <a:r>
              <a:rPr lang="en-GB" sz="1100" dirty="0">
                <a:solidFill>
                  <a:srgbClr val="757575"/>
                </a:solidFill>
              </a:rPr>
              <a:t> </a:t>
            </a:r>
            <a:r>
              <a:rPr lang="en-GB" sz="1100" dirty="0" err="1">
                <a:solidFill>
                  <a:srgbClr val="757575"/>
                </a:solidFill>
              </a:rPr>
              <a:t>osebe</a:t>
            </a:r>
            <a:endParaRPr lang="en-GB" sz="1100" dirty="0">
              <a:solidFill>
                <a:srgbClr val="757575"/>
              </a:solidFill>
            </a:endParaRPr>
          </a:p>
          <a:p>
            <a:pPr marL="171450" indent="-171450">
              <a:spcAft>
                <a:spcPts val="300"/>
              </a:spcAft>
              <a:buFont typeface="Wingdings" panose="05000000000000000000" pitchFamily="2" charset="2"/>
              <a:buChar char="§"/>
            </a:pPr>
            <a:r>
              <a:rPr lang="en-GB" sz="1100" dirty="0" err="1">
                <a:solidFill>
                  <a:srgbClr val="757575"/>
                </a:solidFill>
              </a:rPr>
              <a:t>Podjetja</a:t>
            </a:r>
            <a:endParaRPr lang="en-GB" sz="1100" dirty="0">
              <a:solidFill>
                <a:srgbClr val="757575"/>
              </a:solidFill>
            </a:endParaRPr>
          </a:p>
          <a:p>
            <a:pPr marL="171450" indent="-171450">
              <a:spcAft>
                <a:spcPts val="300"/>
              </a:spcAft>
              <a:buFont typeface="Wingdings" panose="05000000000000000000" pitchFamily="2" charset="2"/>
              <a:buChar char="§"/>
            </a:pPr>
            <a:r>
              <a:rPr lang="en-GB" sz="1100" dirty="0" err="1">
                <a:solidFill>
                  <a:srgbClr val="757575"/>
                </a:solidFill>
              </a:rPr>
              <a:t>Dobavitelji</a:t>
            </a:r>
            <a:r>
              <a:rPr lang="en-GB" sz="1100" dirty="0">
                <a:solidFill>
                  <a:srgbClr val="757575"/>
                </a:solidFill>
              </a:rPr>
              <a:t> in </a:t>
            </a:r>
            <a:r>
              <a:rPr lang="en-GB" sz="1100" dirty="0" err="1">
                <a:solidFill>
                  <a:srgbClr val="757575"/>
                </a:solidFill>
              </a:rPr>
              <a:t>pogodbeni</a:t>
            </a:r>
            <a:r>
              <a:rPr lang="en-GB" sz="1100" dirty="0">
                <a:solidFill>
                  <a:srgbClr val="757575"/>
                </a:solidFill>
              </a:rPr>
              <a:t> </a:t>
            </a:r>
            <a:r>
              <a:rPr lang="en-GB" sz="1100" dirty="0" err="1">
                <a:solidFill>
                  <a:srgbClr val="757575"/>
                </a:solidFill>
              </a:rPr>
              <a:t>partnerji</a:t>
            </a:r>
            <a:endParaRPr lang="en-GB" sz="1100" dirty="0">
              <a:solidFill>
                <a:srgbClr val="757575"/>
              </a:solidFill>
            </a:endParaRPr>
          </a:p>
          <a:p>
            <a:pPr marL="171450" indent="-171450">
              <a:spcAft>
                <a:spcPts val="300"/>
              </a:spcAft>
              <a:buFont typeface="Wingdings" panose="05000000000000000000" pitchFamily="2" charset="2"/>
              <a:buChar char="§"/>
            </a:pPr>
            <a:r>
              <a:rPr lang="en-GB" sz="1100" dirty="0" err="1">
                <a:solidFill>
                  <a:srgbClr val="757575"/>
                </a:solidFill>
              </a:rPr>
              <a:t>Regulatorni</a:t>
            </a:r>
            <a:r>
              <a:rPr lang="en-GB" sz="1100" dirty="0">
                <a:solidFill>
                  <a:srgbClr val="757575"/>
                </a:solidFill>
              </a:rPr>
              <a:t> </a:t>
            </a:r>
            <a:r>
              <a:rPr lang="en-GB" sz="1100" dirty="0" err="1">
                <a:solidFill>
                  <a:srgbClr val="757575"/>
                </a:solidFill>
              </a:rPr>
              <a:t>organi</a:t>
            </a:r>
            <a:endParaRPr lang="en-GB" sz="1100" dirty="0">
              <a:solidFill>
                <a:srgbClr val="757575"/>
              </a:solidFill>
            </a:endParaRPr>
          </a:p>
          <a:p>
            <a:pPr marL="171450" indent="-171450">
              <a:spcAft>
                <a:spcPts val="300"/>
              </a:spcAft>
              <a:buFont typeface="Wingdings" panose="05000000000000000000" pitchFamily="2" charset="2"/>
              <a:buChar char="§"/>
            </a:pPr>
            <a:r>
              <a:rPr lang="en-GB" sz="1100" dirty="0" err="1">
                <a:solidFill>
                  <a:srgbClr val="757575"/>
                </a:solidFill>
              </a:rPr>
              <a:t>Strokovna</a:t>
            </a:r>
            <a:r>
              <a:rPr lang="en-GB" sz="1100" dirty="0">
                <a:solidFill>
                  <a:srgbClr val="757575"/>
                </a:solidFill>
              </a:rPr>
              <a:t> </a:t>
            </a:r>
            <a:r>
              <a:rPr lang="en-GB" sz="1100" dirty="0" err="1">
                <a:solidFill>
                  <a:srgbClr val="757575"/>
                </a:solidFill>
              </a:rPr>
              <a:t>združenja</a:t>
            </a:r>
            <a:endParaRPr lang="en-GB" sz="1100" dirty="0">
              <a:solidFill>
                <a:srgbClr val="757575"/>
              </a:solidFill>
            </a:endParaRPr>
          </a:p>
          <a:p>
            <a:pPr marL="171450" indent="-171450">
              <a:spcAft>
                <a:spcPts val="300"/>
              </a:spcAft>
              <a:buFont typeface="Wingdings" panose="05000000000000000000" pitchFamily="2" charset="2"/>
              <a:buChar char="§"/>
            </a:pPr>
            <a:r>
              <a:rPr lang="en-GB" sz="1100" dirty="0" err="1">
                <a:solidFill>
                  <a:srgbClr val="757575"/>
                </a:solidFill>
              </a:rPr>
              <a:t>Lokalne</a:t>
            </a:r>
            <a:r>
              <a:rPr lang="en-GB" sz="1100" dirty="0">
                <a:solidFill>
                  <a:srgbClr val="757575"/>
                </a:solidFill>
              </a:rPr>
              <a:t> </a:t>
            </a:r>
            <a:r>
              <a:rPr lang="en-GB" sz="1100" dirty="0" err="1">
                <a:solidFill>
                  <a:srgbClr val="757575"/>
                </a:solidFill>
              </a:rPr>
              <a:t>skupnosti</a:t>
            </a:r>
            <a:endParaRPr lang="en-GB" sz="1100" dirty="0">
              <a:solidFill>
                <a:srgbClr val="757575"/>
              </a:solidFill>
            </a:endParaRPr>
          </a:p>
        </p:txBody>
      </p:sp>
      <p:sp>
        <p:nvSpPr>
          <p:cNvPr id="16" name="Rectangle 15">
            <a:extLst>
              <a:ext uri="{FF2B5EF4-FFF2-40B4-BE49-F238E27FC236}">
                <a16:creationId xmlns:a16="http://schemas.microsoft.com/office/drawing/2014/main" id="{C508AC6F-A15A-4B07-BC04-81CB2F2F8290}"/>
              </a:ext>
            </a:extLst>
          </p:cNvPr>
          <p:cNvSpPr/>
          <p:nvPr/>
        </p:nvSpPr>
        <p:spPr>
          <a:xfrm>
            <a:off x="683413" y="4133023"/>
            <a:ext cx="3654935" cy="13807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72000" rtlCol="0" anchor="t">
            <a:spAutoFit/>
          </a:bodyPr>
          <a:lstStyle/>
          <a:p>
            <a:pPr marL="171450" indent="-171450">
              <a:spcAft>
                <a:spcPts val="300"/>
              </a:spcAft>
              <a:buFont typeface="Wingdings" panose="05000000000000000000" pitchFamily="2" charset="2"/>
              <a:buChar char="§"/>
            </a:pPr>
            <a:r>
              <a:rPr lang="en-GB" sz="1100" dirty="0">
                <a:solidFill>
                  <a:srgbClr val="757575"/>
                </a:solidFill>
              </a:rPr>
              <a:t>Del </a:t>
            </a:r>
            <a:r>
              <a:rPr lang="en-GB" sz="1100" dirty="0" err="1">
                <a:solidFill>
                  <a:srgbClr val="757575"/>
                </a:solidFill>
              </a:rPr>
              <a:t>celovitega</a:t>
            </a:r>
            <a:r>
              <a:rPr lang="en-GB" sz="1100" dirty="0">
                <a:solidFill>
                  <a:srgbClr val="757575"/>
                </a:solidFill>
              </a:rPr>
              <a:t> </a:t>
            </a:r>
            <a:r>
              <a:rPr lang="en-GB" sz="1100" dirty="0" err="1">
                <a:solidFill>
                  <a:srgbClr val="757575"/>
                </a:solidFill>
              </a:rPr>
              <a:t>sistema</a:t>
            </a:r>
            <a:r>
              <a:rPr lang="en-GB" sz="1100" dirty="0">
                <a:solidFill>
                  <a:srgbClr val="757575"/>
                </a:solidFill>
              </a:rPr>
              <a:t> za </a:t>
            </a:r>
            <a:r>
              <a:rPr lang="en-GB" sz="1100" dirty="0" err="1">
                <a:solidFill>
                  <a:srgbClr val="757575"/>
                </a:solidFill>
              </a:rPr>
              <a:t>upravljanje</a:t>
            </a:r>
            <a:r>
              <a:rPr lang="en-GB" sz="1100" dirty="0">
                <a:solidFill>
                  <a:srgbClr val="757575"/>
                </a:solidFill>
              </a:rPr>
              <a:t> </a:t>
            </a:r>
            <a:r>
              <a:rPr lang="sl-SI" sz="1100" dirty="0">
                <a:solidFill>
                  <a:srgbClr val="757575"/>
                </a:solidFill>
              </a:rPr>
              <a:t> </a:t>
            </a:r>
            <a:r>
              <a:rPr lang="en-GB" sz="1100" dirty="0" err="1">
                <a:solidFill>
                  <a:srgbClr val="757575"/>
                </a:solidFill>
              </a:rPr>
              <a:t>tveganj</a:t>
            </a:r>
            <a:r>
              <a:rPr lang="en-GB" sz="1100" dirty="0">
                <a:solidFill>
                  <a:srgbClr val="757575"/>
                </a:solidFill>
              </a:rPr>
              <a:t> v </a:t>
            </a:r>
            <a:r>
              <a:rPr lang="en-GB" sz="1100" dirty="0" err="1">
                <a:solidFill>
                  <a:srgbClr val="757575"/>
                </a:solidFill>
              </a:rPr>
              <a:t>okviru</a:t>
            </a:r>
            <a:r>
              <a:rPr lang="en-GB" sz="1100" dirty="0">
                <a:solidFill>
                  <a:srgbClr val="757575"/>
                </a:solidFill>
              </a:rPr>
              <a:t> NLB </a:t>
            </a:r>
            <a:r>
              <a:rPr lang="en-GB" sz="1100" dirty="0" err="1">
                <a:solidFill>
                  <a:srgbClr val="757575"/>
                </a:solidFill>
              </a:rPr>
              <a:t>Skupine</a:t>
            </a:r>
            <a:r>
              <a:rPr lang="en-GB" sz="1100" dirty="0">
                <a:solidFill>
                  <a:srgbClr val="757575"/>
                </a:solidFill>
              </a:rPr>
              <a:t> (v </a:t>
            </a:r>
            <a:r>
              <a:rPr lang="en-GB" sz="1100" dirty="0" err="1">
                <a:solidFill>
                  <a:srgbClr val="757575"/>
                </a:solidFill>
              </a:rPr>
              <a:t>skladu</a:t>
            </a:r>
            <a:r>
              <a:rPr lang="en-GB" sz="1100" dirty="0">
                <a:solidFill>
                  <a:srgbClr val="757575"/>
                </a:solidFill>
              </a:rPr>
              <a:t> z </a:t>
            </a:r>
            <a:r>
              <a:rPr lang="sl-SI" sz="1100" dirty="0">
                <a:solidFill>
                  <a:srgbClr val="757575"/>
                </a:solidFill>
              </a:rPr>
              <a:t> </a:t>
            </a:r>
            <a:r>
              <a:rPr lang="en-GB" sz="1100" dirty="0">
                <a:solidFill>
                  <a:srgbClr val="757575"/>
                </a:solidFill>
              </a:rPr>
              <a:t>MIGA and EBRD </a:t>
            </a:r>
            <a:r>
              <a:rPr lang="en-GB" sz="1100" dirty="0" err="1">
                <a:solidFill>
                  <a:srgbClr val="757575"/>
                </a:solidFill>
              </a:rPr>
              <a:t>zahtevami</a:t>
            </a:r>
            <a:r>
              <a:rPr lang="en-GB" sz="1100" dirty="0">
                <a:solidFill>
                  <a:srgbClr val="757575"/>
                </a:solidFill>
              </a:rPr>
              <a:t>). </a:t>
            </a:r>
          </a:p>
          <a:p>
            <a:pPr marL="171450" indent="-171450">
              <a:spcAft>
                <a:spcPts val="300"/>
              </a:spcAft>
              <a:buFont typeface="Wingdings" panose="05000000000000000000" pitchFamily="2" charset="2"/>
              <a:buChar char="§"/>
            </a:pPr>
            <a:r>
              <a:rPr lang="en-GB" sz="1100" dirty="0" err="1">
                <a:solidFill>
                  <a:srgbClr val="757575"/>
                </a:solidFill>
              </a:rPr>
              <a:t>Izboljšanje</a:t>
            </a:r>
            <a:r>
              <a:rPr lang="en-GB" sz="1100" dirty="0">
                <a:solidFill>
                  <a:srgbClr val="757575"/>
                </a:solidFill>
              </a:rPr>
              <a:t> </a:t>
            </a:r>
            <a:r>
              <a:rPr lang="en-GB" sz="1100" dirty="0" err="1">
                <a:solidFill>
                  <a:srgbClr val="757575"/>
                </a:solidFill>
              </a:rPr>
              <a:t>sposobnosti</a:t>
            </a:r>
            <a:r>
              <a:rPr lang="en-GB" sz="1100" dirty="0">
                <a:solidFill>
                  <a:srgbClr val="757575"/>
                </a:solidFill>
              </a:rPr>
              <a:t> </a:t>
            </a:r>
            <a:r>
              <a:rPr lang="en-GB" sz="1100" dirty="0" err="1">
                <a:solidFill>
                  <a:srgbClr val="757575"/>
                </a:solidFill>
              </a:rPr>
              <a:t>banke</a:t>
            </a:r>
            <a:r>
              <a:rPr lang="en-GB" sz="1100" dirty="0">
                <a:solidFill>
                  <a:srgbClr val="757575"/>
                </a:solidFill>
              </a:rPr>
              <a:t> za </a:t>
            </a:r>
            <a:r>
              <a:rPr lang="en-GB" sz="1100" dirty="0" err="1">
                <a:solidFill>
                  <a:srgbClr val="757575"/>
                </a:solidFill>
              </a:rPr>
              <a:t>upravljanje</a:t>
            </a:r>
            <a:r>
              <a:rPr lang="en-GB" sz="1100" dirty="0">
                <a:solidFill>
                  <a:srgbClr val="757575"/>
                </a:solidFill>
              </a:rPr>
              <a:t> </a:t>
            </a:r>
            <a:r>
              <a:rPr lang="en-GB" sz="1100" dirty="0" err="1">
                <a:solidFill>
                  <a:srgbClr val="757575"/>
                </a:solidFill>
              </a:rPr>
              <a:t>okoljskih</a:t>
            </a:r>
            <a:r>
              <a:rPr lang="en-GB" sz="1100" dirty="0">
                <a:solidFill>
                  <a:srgbClr val="757575"/>
                </a:solidFill>
              </a:rPr>
              <a:t> in </a:t>
            </a:r>
            <a:r>
              <a:rPr lang="en-GB" sz="1100" dirty="0" err="1">
                <a:solidFill>
                  <a:srgbClr val="757575"/>
                </a:solidFill>
              </a:rPr>
              <a:t>socialnih</a:t>
            </a:r>
            <a:r>
              <a:rPr lang="en-GB" sz="1100" dirty="0">
                <a:solidFill>
                  <a:srgbClr val="757575"/>
                </a:solidFill>
              </a:rPr>
              <a:t> (E&amp;S) </a:t>
            </a:r>
            <a:r>
              <a:rPr lang="en-GB" sz="1100" dirty="0" err="1">
                <a:solidFill>
                  <a:srgbClr val="757575"/>
                </a:solidFill>
              </a:rPr>
              <a:t>tveganj</a:t>
            </a:r>
            <a:r>
              <a:rPr lang="en-GB" sz="1100" dirty="0">
                <a:solidFill>
                  <a:srgbClr val="757575"/>
                </a:solidFill>
              </a:rPr>
              <a:t>. </a:t>
            </a:r>
          </a:p>
          <a:p>
            <a:pPr marL="171450" indent="-171450">
              <a:spcAft>
                <a:spcPts val="300"/>
              </a:spcAft>
              <a:buFont typeface="Wingdings" panose="05000000000000000000" pitchFamily="2" charset="2"/>
              <a:buChar char="§"/>
            </a:pPr>
            <a:r>
              <a:rPr lang="en-GB" sz="1100" dirty="0" err="1">
                <a:solidFill>
                  <a:srgbClr val="757575"/>
                </a:solidFill>
              </a:rPr>
              <a:t>Zmanjšanje</a:t>
            </a:r>
            <a:r>
              <a:rPr lang="en-GB" sz="1100" dirty="0">
                <a:solidFill>
                  <a:srgbClr val="757575"/>
                </a:solidFill>
              </a:rPr>
              <a:t> </a:t>
            </a:r>
            <a:r>
              <a:rPr lang="en-GB" sz="1100" dirty="0" err="1">
                <a:solidFill>
                  <a:srgbClr val="757575"/>
                </a:solidFill>
              </a:rPr>
              <a:t>kreditnih</a:t>
            </a:r>
            <a:r>
              <a:rPr lang="en-GB" sz="1100" dirty="0">
                <a:solidFill>
                  <a:srgbClr val="757575"/>
                </a:solidFill>
              </a:rPr>
              <a:t> </a:t>
            </a:r>
            <a:r>
              <a:rPr lang="en-GB" sz="1100" dirty="0" err="1">
                <a:solidFill>
                  <a:srgbClr val="757575"/>
                </a:solidFill>
              </a:rPr>
              <a:t>tveganj</a:t>
            </a:r>
            <a:r>
              <a:rPr lang="en-GB" sz="1100" dirty="0">
                <a:solidFill>
                  <a:srgbClr val="757575"/>
                </a:solidFill>
              </a:rPr>
              <a:t> in </a:t>
            </a:r>
            <a:r>
              <a:rPr lang="en-GB" sz="1100" dirty="0" err="1">
                <a:solidFill>
                  <a:srgbClr val="757575"/>
                </a:solidFill>
              </a:rPr>
              <a:t>tveganj</a:t>
            </a:r>
            <a:r>
              <a:rPr lang="en-GB" sz="1100" dirty="0">
                <a:solidFill>
                  <a:srgbClr val="757575"/>
                </a:solidFill>
              </a:rPr>
              <a:t> </a:t>
            </a:r>
            <a:r>
              <a:rPr lang="en-GB" sz="1100" dirty="0" err="1">
                <a:solidFill>
                  <a:srgbClr val="757575"/>
                </a:solidFill>
              </a:rPr>
              <a:t>odgovornosti</a:t>
            </a:r>
            <a:r>
              <a:rPr lang="en-GB" sz="1100" dirty="0">
                <a:solidFill>
                  <a:srgbClr val="757575"/>
                </a:solidFill>
              </a:rPr>
              <a:t>, ki </a:t>
            </a:r>
            <a:r>
              <a:rPr lang="en-GB" sz="1100" dirty="0" err="1">
                <a:solidFill>
                  <a:srgbClr val="757575"/>
                </a:solidFill>
              </a:rPr>
              <a:t>izhajajo</a:t>
            </a:r>
            <a:r>
              <a:rPr lang="en-GB" sz="1100" dirty="0">
                <a:solidFill>
                  <a:srgbClr val="757575"/>
                </a:solidFill>
              </a:rPr>
              <a:t> </a:t>
            </a:r>
            <a:r>
              <a:rPr lang="en-GB" sz="1100" dirty="0" err="1">
                <a:solidFill>
                  <a:srgbClr val="757575"/>
                </a:solidFill>
              </a:rPr>
              <a:t>iz</a:t>
            </a:r>
            <a:r>
              <a:rPr lang="en-GB" sz="1100" dirty="0">
                <a:solidFill>
                  <a:srgbClr val="757575"/>
                </a:solidFill>
              </a:rPr>
              <a:t> </a:t>
            </a:r>
            <a:r>
              <a:rPr lang="en-GB" sz="1100" dirty="0" err="1">
                <a:solidFill>
                  <a:srgbClr val="757575"/>
                </a:solidFill>
              </a:rPr>
              <a:t>okoljskih</a:t>
            </a:r>
            <a:r>
              <a:rPr lang="en-GB" sz="1100" dirty="0">
                <a:solidFill>
                  <a:srgbClr val="757575"/>
                </a:solidFill>
              </a:rPr>
              <a:t> in </a:t>
            </a:r>
            <a:r>
              <a:rPr lang="en-GB" sz="1100" dirty="0" err="1">
                <a:solidFill>
                  <a:srgbClr val="757575"/>
                </a:solidFill>
              </a:rPr>
              <a:t>socialnih</a:t>
            </a:r>
            <a:r>
              <a:rPr lang="en-GB" sz="1100" dirty="0">
                <a:solidFill>
                  <a:srgbClr val="757575"/>
                </a:solidFill>
              </a:rPr>
              <a:t> </a:t>
            </a:r>
            <a:r>
              <a:rPr lang="en-GB" sz="1100" dirty="0" err="1">
                <a:solidFill>
                  <a:srgbClr val="757575"/>
                </a:solidFill>
              </a:rPr>
              <a:t>vprašanj</a:t>
            </a:r>
            <a:r>
              <a:rPr lang="en-GB" sz="1100" dirty="0">
                <a:solidFill>
                  <a:srgbClr val="757575"/>
                </a:solidFill>
              </a:rPr>
              <a:t>.</a:t>
            </a:r>
          </a:p>
        </p:txBody>
      </p:sp>
      <p:sp>
        <p:nvSpPr>
          <p:cNvPr id="20" name="Rectangle 19">
            <a:extLst>
              <a:ext uri="{FF2B5EF4-FFF2-40B4-BE49-F238E27FC236}">
                <a16:creationId xmlns:a16="http://schemas.microsoft.com/office/drawing/2014/main" id="{79398FD9-2234-4046-A5A2-E113E26B3F62}"/>
              </a:ext>
            </a:extLst>
          </p:cNvPr>
          <p:cNvSpPr/>
          <p:nvPr/>
        </p:nvSpPr>
        <p:spPr>
          <a:xfrm>
            <a:off x="4218083" y="5486654"/>
            <a:ext cx="3744793" cy="10037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72000" rtlCol="0" anchor="t">
            <a:spAutoFit/>
          </a:bodyPr>
          <a:lstStyle/>
          <a:p>
            <a:pPr marL="171450" indent="-171450">
              <a:spcAft>
                <a:spcPts val="300"/>
              </a:spcAft>
              <a:buFont typeface="Wingdings" panose="05000000000000000000" pitchFamily="2" charset="2"/>
              <a:buChar char="§"/>
            </a:pPr>
            <a:r>
              <a:rPr lang="en-GB" sz="1100" dirty="0" err="1">
                <a:solidFill>
                  <a:srgbClr val="757575"/>
                </a:solidFill>
              </a:rPr>
              <a:t>Izpolnjevanje</a:t>
            </a:r>
            <a:r>
              <a:rPr lang="en-GB" sz="1100" dirty="0">
                <a:solidFill>
                  <a:srgbClr val="757575"/>
                </a:solidFill>
              </a:rPr>
              <a:t> </a:t>
            </a:r>
            <a:r>
              <a:rPr lang="en-GB" sz="1100" dirty="0" err="1">
                <a:solidFill>
                  <a:srgbClr val="757575"/>
                </a:solidFill>
              </a:rPr>
              <a:t>zavez</a:t>
            </a:r>
            <a:r>
              <a:rPr lang="en-GB" sz="1100" dirty="0">
                <a:solidFill>
                  <a:srgbClr val="757575"/>
                </a:solidFill>
              </a:rPr>
              <a:t> v </a:t>
            </a:r>
            <a:r>
              <a:rPr lang="en-GB" sz="1100" dirty="0" err="1">
                <a:solidFill>
                  <a:srgbClr val="757575"/>
                </a:solidFill>
              </a:rPr>
              <a:t>okviru</a:t>
            </a:r>
            <a:r>
              <a:rPr lang="en-GB" sz="1100" dirty="0">
                <a:solidFill>
                  <a:srgbClr val="757575"/>
                </a:solidFill>
              </a:rPr>
              <a:t> </a:t>
            </a:r>
            <a:r>
              <a:rPr lang="en-GB" sz="1100" dirty="0" err="1">
                <a:solidFill>
                  <a:srgbClr val="757575"/>
                </a:solidFill>
              </a:rPr>
              <a:t>članstva</a:t>
            </a:r>
            <a:r>
              <a:rPr lang="en-GB" sz="1100" dirty="0">
                <a:solidFill>
                  <a:srgbClr val="757575"/>
                </a:solidFill>
              </a:rPr>
              <a:t> UNEP FI in </a:t>
            </a:r>
            <a:r>
              <a:rPr lang="en-GB" sz="1100" dirty="0" err="1">
                <a:solidFill>
                  <a:srgbClr val="757575"/>
                </a:solidFill>
              </a:rPr>
              <a:t>podpisništva</a:t>
            </a:r>
            <a:r>
              <a:rPr lang="en-GB" sz="1100" dirty="0">
                <a:solidFill>
                  <a:srgbClr val="757575"/>
                </a:solidFill>
              </a:rPr>
              <a:t> </a:t>
            </a:r>
            <a:r>
              <a:rPr lang="en-GB" sz="1100" dirty="0" err="1">
                <a:solidFill>
                  <a:srgbClr val="757575"/>
                </a:solidFill>
              </a:rPr>
              <a:t>Načel</a:t>
            </a:r>
            <a:r>
              <a:rPr lang="en-GB" sz="1100" dirty="0">
                <a:solidFill>
                  <a:srgbClr val="757575"/>
                </a:solidFill>
              </a:rPr>
              <a:t> OZN za </a:t>
            </a:r>
            <a:r>
              <a:rPr lang="en-GB" sz="1100" dirty="0" err="1">
                <a:solidFill>
                  <a:srgbClr val="757575"/>
                </a:solidFill>
              </a:rPr>
              <a:t>odgovorno</a:t>
            </a:r>
            <a:r>
              <a:rPr lang="en-GB" sz="1100" dirty="0">
                <a:solidFill>
                  <a:srgbClr val="757575"/>
                </a:solidFill>
              </a:rPr>
              <a:t> </a:t>
            </a:r>
            <a:r>
              <a:rPr lang="en-GB" sz="1100" dirty="0" err="1">
                <a:solidFill>
                  <a:srgbClr val="757575"/>
                </a:solidFill>
              </a:rPr>
              <a:t>bančništvo</a:t>
            </a:r>
            <a:r>
              <a:rPr lang="en-GB" sz="1100" dirty="0">
                <a:solidFill>
                  <a:srgbClr val="757575"/>
                </a:solidFill>
              </a:rPr>
              <a:t> PRB. </a:t>
            </a:r>
          </a:p>
          <a:p>
            <a:pPr marL="171450" indent="-171450">
              <a:spcAft>
                <a:spcPts val="300"/>
              </a:spcAft>
              <a:buFont typeface="Wingdings" panose="05000000000000000000" pitchFamily="2" charset="2"/>
              <a:buChar char="§"/>
            </a:pPr>
            <a:r>
              <a:rPr lang="en-GB" sz="1100" dirty="0" err="1">
                <a:solidFill>
                  <a:srgbClr val="757575"/>
                </a:solidFill>
              </a:rPr>
              <a:t>Usklajevanje</a:t>
            </a:r>
            <a:r>
              <a:rPr lang="en-GB" sz="1100" dirty="0">
                <a:solidFill>
                  <a:srgbClr val="757575"/>
                </a:solidFill>
              </a:rPr>
              <a:t> </a:t>
            </a:r>
            <a:r>
              <a:rPr lang="en-GB" sz="1100" dirty="0" err="1">
                <a:solidFill>
                  <a:srgbClr val="757575"/>
                </a:solidFill>
              </a:rPr>
              <a:t>strategije</a:t>
            </a:r>
            <a:r>
              <a:rPr lang="en-GB" sz="1100" dirty="0">
                <a:solidFill>
                  <a:srgbClr val="757575"/>
                </a:solidFill>
              </a:rPr>
              <a:t>, </a:t>
            </a:r>
            <a:r>
              <a:rPr lang="en-GB" sz="1100" dirty="0" err="1">
                <a:solidFill>
                  <a:srgbClr val="757575"/>
                </a:solidFill>
              </a:rPr>
              <a:t>odločanja</a:t>
            </a:r>
            <a:r>
              <a:rPr lang="en-GB" sz="1100" dirty="0">
                <a:solidFill>
                  <a:srgbClr val="757575"/>
                </a:solidFill>
              </a:rPr>
              <a:t>, </a:t>
            </a:r>
            <a:r>
              <a:rPr lang="en-GB" sz="1100" dirty="0" err="1">
                <a:solidFill>
                  <a:srgbClr val="757575"/>
                </a:solidFill>
              </a:rPr>
              <a:t>kreditiranja</a:t>
            </a:r>
            <a:r>
              <a:rPr lang="en-GB" sz="1100" dirty="0">
                <a:solidFill>
                  <a:srgbClr val="757575"/>
                </a:solidFill>
              </a:rPr>
              <a:t> in </a:t>
            </a:r>
            <a:r>
              <a:rPr lang="en-GB" sz="1100" dirty="0" err="1">
                <a:solidFill>
                  <a:srgbClr val="757575"/>
                </a:solidFill>
              </a:rPr>
              <a:t>investiranja</a:t>
            </a:r>
            <a:r>
              <a:rPr lang="en-GB" sz="1100" dirty="0">
                <a:solidFill>
                  <a:srgbClr val="757575"/>
                </a:solidFill>
              </a:rPr>
              <a:t> s </a:t>
            </a:r>
            <a:r>
              <a:rPr lang="en-GB" sz="1100" dirty="0" err="1">
                <a:solidFill>
                  <a:srgbClr val="757575"/>
                </a:solidFill>
              </a:rPr>
              <a:t>Cilji</a:t>
            </a:r>
            <a:r>
              <a:rPr lang="en-GB" sz="1100" dirty="0">
                <a:solidFill>
                  <a:srgbClr val="757575"/>
                </a:solidFill>
              </a:rPr>
              <a:t> </a:t>
            </a:r>
            <a:r>
              <a:rPr lang="en-GB" sz="1100" dirty="0" err="1">
                <a:solidFill>
                  <a:srgbClr val="757575"/>
                </a:solidFill>
              </a:rPr>
              <a:t>trajnostnega</a:t>
            </a:r>
            <a:r>
              <a:rPr lang="en-GB" sz="1100" dirty="0">
                <a:solidFill>
                  <a:srgbClr val="757575"/>
                </a:solidFill>
              </a:rPr>
              <a:t> </a:t>
            </a:r>
            <a:r>
              <a:rPr lang="en-GB" sz="1100" dirty="0" err="1">
                <a:solidFill>
                  <a:srgbClr val="757575"/>
                </a:solidFill>
              </a:rPr>
              <a:t>razvoja</a:t>
            </a:r>
            <a:r>
              <a:rPr lang="en-GB" sz="1100" dirty="0">
                <a:solidFill>
                  <a:srgbClr val="757575"/>
                </a:solidFill>
              </a:rPr>
              <a:t> OZN.</a:t>
            </a:r>
          </a:p>
        </p:txBody>
      </p:sp>
      <p:sp>
        <p:nvSpPr>
          <p:cNvPr id="24" name="Rectangle 23">
            <a:extLst>
              <a:ext uri="{FF2B5EF4-FFF2-40B4-BE49-F238E27FC236}">
                <a16:creationId xmlns:a16="http://schemas.microsoft.com/office/drawing/2014/main" id="{268EE225-136F-4E76-A57E-5207104277B1}"/>
              </a:ext>
            </a:extLst>
          </p:cNvPr>
          <p:cNvSpPr/>
          <p:nvPr/>
        </p:nvSpPr>
        <p:spPr>
          <a:xfrm>
            <a:off x="7993510" y="1400209"/>
            <a:ext cx="4023057" cy="19732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72000" rtlCol="0" anchor="t">
            <a:spAutoFit/>
          </a:bodyPr>
          <a:lstStyle/>
          <a:p>
            <a:pPr marL="171450" indent="-171450">
              <a:spcAft>
                <a:spcPts val="300"/>
              </a:spcAft>
              <a:buFont typeface="Wingdings" panose="05000000000000000000" pitchFamily="2" charset="2"/>
              <a:buChar char="§"/>
            </a:pPr>
            <a:r>
              <a:rPr lang="en-GB" sz="1200" dirty="0" err="1">
                <a:solidFill>
                  <a:srgbClr val="757575"/>
                </a:solidFill>
              </a:rPr>
              <a:t>Vključevanje</a:t>
            </a:r>
            <a:r>
              <a:rPr lang="en-GB" sz="1200" dirty="0">
                <a:solidFill>
                  <a:srgbClr val="757575"/>
                </a:solidFill>
              </a:rPr>
              <a:t> </a:t>
            </a:r>
            <a:r>
              <a:rPr lang="en-GB" sz="1200" dirty="0" err="1">
                <a:solidFill>
                  <a:srgbClr val="757575"/>
                </a:solidFill>
              </a:rPr>
              <a:t>meril</a:t>
            </a:r>
            <a:r>
              <a:rPr lang="en-GB" sz="1200" dirty="0">
                <a:solidFill>
                  <a:srgbClr val="757575"/>
                </a:solidFill>
              </a:rPr>
              <a:t> ESG v </a:t>
            </a:r>
            <a:r>
              <a:rPr lang="en-GB" sz="1200" dirty="0" err="1">
                <a:solidFill>
                  <a:srgbClr val="757575"/>
                </a:solidFill>
              </a:rPr>
              <a:t>poslovne</a:t>
            </a:r>
            <a:r>
              <a:rPr lang="en-GB" sz="1200" dirty="0">
                <a:solidFill>
                  <a:srgbClr val="757575"/>
                </a:solidFill>
              </a:rPr>
              <a:t> </a:t>
            </a:r>
            <a:r>
              <a:rPr lang="en-GB" sz="1200" dirty="0" err="1">
                <a:solidFill>
                  <a:srgbClr val="757575"/>
                </a:solidFill>
              </a:rPr>
              <a:t>odločitve</a:t>
            </a:r>
            <a:r>
              <a:rPr lang="en-GB" sz="1200" dirty="0">
                <a:solidFill>
                  <a:srgbClr val="757575"/>
                </a:solidFill>
              </a:rPr>
              <a:t>.</a:t>
            </a:r>
          </a:p>
          <a:p>
            <a:pPr marL="171450" indent="-171450">
              <a:spcAft>
                <a:spcPts val="300"/>
              </a:spcAft>
              <a:buFont typeface="Wingdings" panose="05000000000000000000" pitchFamily="2" charset="2"/>
              <a:buChar char="§"/>
            </a:pPr>
            <a:r>
              <a:rPr lang="en-GB" sz="1200" b="1" dirty="0" err="1">
                <a:solidFill>
                  <a:srgbClr val="757575"/>
                </a:solidFill>
              </a:rPr>
              <a:t>Upravljanje</a:t>
            </a:r>
            <a:r>
              <a:rPr lang="en-GB" sz="1200" b="1" dirty="0">
                <a:solidFill>
                  <a:srgbClr val="757575"/>
                </a:solidFill>
              </a:rPr>
              <a:t> in </a:t>
            </a:r>
            <a:r>
              <a:rPr lang="en-GB" sz="1200" b="1" dirty="0" err="1">
                <a:solidFill>
                  <a:srgbClr val="757575"/>
                </a:solidFill>
              </a:rPr>
              <a:t>obvladovanje</a:t>
            </a:r>
            <a:r>
              <a:rPr lang="en-GB" sz="1200" b="1" dirty="0">
                <a:solidFill>
                  <a:srgbClr val="757575"/>
                </a:solidFill>
              </a:rPr>
              <a:t> ESG </a:t>
            </a:r>
            <a:r>
              <a:rPr lang="en-GB" sz="1200" b="1" dirty="0" err="1">
                <a:solidFill>
                  <a:srgbClr val="757575"/>
                </a:solidFill>
              </a:rPr>
              <a:t>tveganj</a:t>
            </a:r>
            <a:r>
              <a:rPr lang="en-GB" sz="1200" b="1" dirty="0">
                <a:solidFill>
                  <a:srgbClr val="757575"/>
                </a:solidFill>
              </a:rPr>
              <a:t> </a:t>
            </a:r>
            <a:r>
              <a:rPr lang="en-GB" sz="1200" b="1" dirty="0" err="1">
                <a:solidFill>
                  <a:srgbClr val="757575"/>
                </a:solidFill>
              </a:rPr>
              <a:t>na</a:t>
            </a:r>
            <a:r>
              <a:rPr lang="en-GB" sz="1200" b="1" dirty="0">
                <a:solidFill>
                  <a:srgbClr val="757575"/>
                </a:solidFill>
              </a:rPr>
              <a:t> </a:t>
            </a:r>
            <a:r>
              <a:rPr lang="en-GB" sz="1200" b="1" dirty="0" err="1">
                <a:solidFill>
                  <a:srgbClr val="757575"/>
                </a:solidFill>
              </a:rPr>
              <a:t>najvišji</a:t>
            </a:r>
            <a:r>
              <a:rPr lang="en-GB" sz="1200" b="1" dirty="0">
                <a:solidFill>
                  <a:srgbClr val="757575"/>
                </a:solidFill>
              </a:rPr>
              <a:t> </a:t>
            </a:r>
            <a:r>
              <a:rPr lang="en-GB" sz="1200" b="1" dirty="0" err="1">
                <a:solidFill>
                  <a:srgbClr val="757575"/>
                </a:solidFill>
              </a:rPr>
              <a:t>ravni</a:t>
            </a:r>
            <a:r>
              <a:rPr lang="en-GB" sz="1200" b="1" dirty="0">
                <a:solidFill>
                  <a:srgbClr val="757575"/>
                </a:solidFill>
              </a:rPr>
              <a:t>.</a:t>
            </a:r>
          </a:p>
          <a:p>
            <a:pPr marL="171450" indent="-171450">
              <a:spcAft>
                <a:spcPts val="300"/>
              </a:spcAft>
              <a:buFont typeface="Wingdings" panose="05000000000000000000" pitchFamily="2" charset="2"/>
              <a:buChar char="§"/>
            </a:pPr>
            <a:r>
              <a:rPr lang="en-GB" sz="1200" dirty="0" err="1">
                <a:solidFill>
                  <a:srgbClr val="757575"/>
                </a:solidFill>
              </a:rPr>
              <a:t>Optimiziranje</a:t>
            </a:r>
            <a:r>
              <a:rPr lang="en-GB" sz="1200" dirty="0">
                <a:solidFill>
                  <a:srgbClr val="757575"/>
                </a:solidFill>
              </a:rPr>
              <a:t> </a:t>
            </a:r>
            <a:r>
              <a:rPr lang="en-GB" sz="1200" dirty="0" err="1">
                <a:solidFill>
                  <a:srgbClr val="757575"/>
                </a:solidFill>
              </a:rPr>
              <a:t>izrabe</a:t>
            </a:r>
            <a:r>
              <a:rPr lang="en-GB" sz="1200" dirty="0">
                <a:solidFill>
                  <a:srgbClr val="757575"/>
                </a:solidFill>
              </a:rPr>
              <a:t> </a:t>
            </a:r>
            <a:r>
              <a:rPr lang="en-GB" sz="1200" dirty="0" err="1">
                <a:solidFill>
                  <a:srgbClr val="757575"/>
                </a:solidFill>
              </a:rPr>
              <a:t>naravnih</a:t>
            </a:r>
            <a:r>
              <a:rPr lang="en-GB" sz="1200" dirty="0">
                <a:solidFill>
                  <a:srgbClr val="757575"/>
                </a:solidFill>
              </a:rPr>
              <a:t>, </a:t>
            </a:r>
            <a:r>
              <a:rPr lang="en-GB" sz="1200" dirty="0" err="1">
                <a:solidFill>
                  <a:srgbClr val="757575"/>
                </a:solidFill>
              </a:rPr>
              <a:t>človeških</a:t>
            </a:r>
            <a:r>
              <a:rPr lang="en-GB" sz="1200" dirty="0">
                <a:solidFill>
                  <a:srgbClr val="757575"/>
                </a:solidFill>
              </a:rPr>
              <a:t> in </a:t>
            </a:r>
            <a:r>
              <a:rPr lang="en-GB" sz="1200" dirty="0" err="1">
                <a:solidFill>
                  <a:srgbClr val="757575"/>
                </a:solidFill>
              </a:rPr>
              <a:t>drugih</a:t>
            </a:r>
            <a:r>
              <a:rPr lang="en-GB" sz="1200" dirty="0">
                <a:solidFill>
                  <a:srgbClr val="757575"/>
                </a:solidFill>
              </a:rPr>
              <a:t> </a:t>
            </a:r>
            <a:r>
              <a:rPr lang="en-GB" sz="1200" dirty="0" err="1">
                <a:solidFill>
                  <a:srgbClr val="757575"/>
                </a:solidFill>
              </a:rPr>
              <a:t>virov</a:t>
            </a:r>
            <a:r>
              <a:rPr lang="en-GB" sz="1200" dirty="0">
                <a:solidFill>
                  <a:srgbClr val="757575"/>
                </a:solidFill>
              </a:rPr>
              <a:t>.</a:t>
            </a:r>
          </a:p>
          <a:p>
            <a:pPr marL="171450" indent="-171450">
              <a:spcAft>
                <a:spcPts val="300"/>
              </a:spcAft>
              <a:buFont typeface="Wingdings" panose="05000000000000000000" pitchFamily="2" charset="2"/>
              <a:buChar char="§"/>
            </a:pPr>
            <a:r>
              <a:rPr lang="en-GB" sz="1200" dirty="0" err="1">
                <a:solidFill>
                  <a:srgbClr val="757575"/>
                </a:solidFill>
              </a:rPr>
              <a:t>Zavzemanje</a:t>
            </a:r>
            <a:r>
              <a:rPr lang="en-GB" sz="1200" dirty="0">
                <a:solidFill>
                  <a:srgbClr val="757575"/>
                </a:solidFill>
              </a:rPr>
              <a:t> za </a:t>
            </a:r>
            <a:r>
              <a:rPr lang="en-GB" sz="1200" dirty="0" err="1">
                <a:solidFill>
                  <a:srgbClr val="757575"/>
                </a:solidFill>
              </a:rPr>
              <a:t>prehod</a:t>
            </a:r>
            <a:r>
              <a:rPr lang="en-GB" sz="1200" dirty="0">
                <a:solidFill>
                  <a:srgbClr val="757575"/>
                </a:solidFill>
              </a:rPr>
              <a:t> v </a:t>
            </a:r>
            <a:r>
              <a:rPr lang="en-GB" sz="1200" dirty="0" err="1">
                <a:solidFill>
                  <a:srgbClr val="757575"/>
                </a:solidFill>
              </a:rPr>
              <a:t>nizkoogljično</a:t>
            </a:r>
            <a:r>
              <a:rPr lang="en-GB" sz="1200" dirty="0">
                <a:solidFill>
                  <a:srgbClr val="757575"/>
                </a:solidFill>
              </a:rPr>
              <a:t> in </a:t>
            </a:r>
            <a:r>
              <a:rPr lang="en-GB" sz="1200" dirty="0" err="1">
                <a:solidFill>
                  <a:srgbClr val="757575"/>
                </a:solidFill>
              </a:rPr>
              <a:t>krožno</a:t>
            </a:r>
            <a:r>
              <a:rPr lang="en-GB" sz="1200" dirty="0">
                <a:solidFill>
                  <a:srgbClr val="757575"/>
                </a:solidFill>
              </a:rPr>
              <a:t> </a:t>
            </a:r>
            <a:r>
              <a:rPr lang="en-GB" sz="1200" dirty="0" err="1">
                <a:solidFill>
                  <a:srgbClr val="757575"/>
                </a:solidFill>
              </a:rPr>
              <a:t>gospodarstvo</a:t>
            </a:r>
            <a:r>
              <a:rPr lang="en-GB" sz="1200" dirty="0">
                <a:solidFill>
                  <a:srgbClr val="757575"/>
                </a:solidFill>
              </a:rPr>
              <a:t>.</a:t>
            </a:r>
          </a:p>
          <a:p>
            <a:pPr marL="171450" indent="-171450">
              <a:spcAft>
                <a:spcPts val="300"/>
              </a:spcAft>
              <a:buFont typeface="Wingdings" panose="05000000000000000000" pitchFamily="2" charset="2"/>
              <a:buChar char="§"/>
            </a:pPr>
            <a:r>
              <a:rPr lang="en-GB" sz="1200" dirty="0" err="1">
                <a:solidFill>
                  <a:srgbClr val="757575"/>
                </a:solidFill>
              </a:rPr>
              <a:t>Prispevek</a:t>
            </a:r>
            <a:r>
              <a:rPr lang="en-GB" sz="1200" dirty="0">
                <a:solidFill>
                  <a:srgbClr val="757575"/>
                </a:solidFill>
              </a:rPr>
              <a:t> k </a:t>
            </a:r>
            <a:r>
              <a:rPr lang="en-GB" sz="1200" dirty="0" err="1">
                <a:solidFill>
                  <a:srgbClr val="757575"/>
                </a:solidFill>
              </a:rPr>
              <a:t>družbi</a:t>
            </a:r>
            <a:r>
              <a:rPr lang="en-GB" sz="1200" dirty="0">
                <a:solidFill>
                  <a:srgbClr val="757575"/>
                </a:solidFill>
              </a:rPr>
              <a:t> z </a:t>
            </a:r>
            <a:r>
              <a:rPr lang="en-GB" sz="1200" dirty="0" err="1">
                <a:solidFill>
                  <a:srgbClr val="757575"/>
                </a:solidFill>
              </a:rPr>
              <a:t>dejavnostmi</a:t>
            </a:r>
            <a:r>
              <a:rPr lang="en-GB" sz="1200" dirty="0">
                <a:solidFill>
                  <a:srgbClr val="757575"/>
                </a:solidFill>
              </a:rPr>
              <a:t> </a:t>
            </a:r>
            <a:r>
              <a:rPr lang="en-GB" sz="1200" dirty="0" err="1">
                <a:solidFill>
                  <a:srgbClr val="757575"/>
                </a:solidFill>
              </a:rPr>
              <a:t>na</a:t>
            </a:r>
            <a:r>
              <a:rPr lang="en-GB" sz="1200" dirty="0">
                <a:solidFill>
                  <a:srgbClr val="757575"/>
                </a:solidFill>
              </a:rPr>
              <a:t> </a:t>
            </a:r>
            <a:r>
              <a:rPr lang="en-GB" sz="1200" dirty="0" err="1">
                <a:solidFill>
                  <a:srgbClr val="757575"/>
                </a:solidFill>
              </a:rPr>
              <a:t>področju</a:t>
            </a:r>
            <a:r>
              <a:rPr lang="en-GB" sz="1200" dirty="0">
                <a:solidFill>
                  <a:srgbClr val="757575"/>
                </a:solidFill>
              </a:rPr>
              <a:t> </a:t>
            </a:r>
            <a:r>
              <a:rPr lang="en-GB" sz="1200" dirty="0" err="1">
                <a:solidFill>
                  <a:srgbClr val="757575"/>
                </a:solidFill>
              </a:rPr>
              <a:t>družbene</a:t>
            </a:r>
            <a:r>
              <a:rPr lang="en-GB" sz="1200" dirty="0">
                <a:solidFill>
                  <a:srgbClr val="757575"/>
                </a:solidFill>
              </a:rPr>
              <a:t> </a:t>
            </a:r>
            <a:r>
              <a:rPr lang="en-GB" sz="1200" dirty="0" err="1">
                <a:solidFill>
                  <a:srgbClr val="757575"/>
                </a:solidFill>
              </a:rPr>
              <a:t>odgovornosti</a:t>
            </a:r>
            <a:endParaRPr lang="en-GB" sz="1200" dirty="0">
              <a:solidFill>
                <a:srgbClr val="757575"/>
              </a:solidFill>
            </a:endParaRPr>
          </a:p>
        </p:txBody>
      </p:sp>
      <p:graphicFrame>
        <p:nvGraphicFramePr>
          <p:cNvPr id="3" name="Object 2" hidden="1">
            <a:extLst>
              <a:ext uri="{FF2B5EF4-FFF2-40B4-BE49-F238E27FC236}">
                <a16:creationId xmlns:a16="http://schemas.microsoft.com/office/drawing/2014/main" id="{50388016-2041-4B4D-9DCF-DAD81A5C73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1" imgH="423" progId="TCLayout.ActiveDocument.1">
                  <p:embed/>
                </p:oleObj>
              </mc:Choice>
              <mc:Fallback>
                <p:oleObj name="think-cell Slide" r:id="rId5" imgW="421" imgH="423" progId="TCLayout.ActiveDocument.1">
                  <p:embed/>
                  <p:pic>
                    <p:nvPicPr>
                      <p:cNvPr id="3" name="Object 2" hidden="1">
                        <a:extLst>
                          <a:ext uri="{FF2B5EF4-FFF2-40B4-BE49-F238E27FC236}">
                            <a16:creationId xmlns:a16="http://schemas.microsoft.com/office/drawing/2014/main" id="{50388016-2041-4B4D-9DCF-DAD81A5C738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Oval 13">
            <a:extLst>
              <a:ext uri="{FF2B5EF4-FFF2-40B4-BE49-F238E27FC236}">
                <a16:creationId xmlns:a16="http://schemas.microsoft.com/office/drawing/2014/main" id="{E7855AF0-8DF1-406D-83BF-C9EDB9057CAA}"/>
              </a:ext>
            </a:extLst>
          </p:cNvPr>
          <p:cNvSpPr/>
          <p:nvPr/>
        </p:nvSpPr>
        <p:spPr>
          <a:xfrm>
            <a:off x="9116576" y="5710482"/>
            <a:ext cx="2709664" cy="742678"/>
          </a:xfrm>
          <a:prstGeom prst="ellipse">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757575"/>
              </a:solidFill>
              <a:effectLst/>
              <a:uLnTx/>
              <a:uFillTx/>
              <a:latin typeface="Calibri" panose="020F0502020204030204"/>
              <a:ea typeface="+mn-ea"/>
              <a:cs typeface="+mn-cs"/>
            </a:endParaRPr>
          </a:p>
        </p:txBody>
      </p:sp>
      <p:sp>
        <p:nvSpPr>
          <p:cNvPr id="53" name="Title 5">
            <a:extLst>
              <a:ext uri="{FF2B5EF4-FFF2-40B4-BE49-F238E27FC236}">
                <a16:creationId xmlns:a16="http://schemas.microsoft.com/office/drawing/2014/main" id="{EE905276-BFDC-4EC1-9729-98E190BD5338}"/>
              </a:ext>
            </a:extLst>
          </p:cNvPr>
          <p:cNvSpPr>
            <a:spLocks noGrp="1"/>
          </p:cNvSpPr>
          <p:nvPr>
            <p:ph type="title"/>
          </p:nvPr>
        </p:nvSpPr>
        <p:spPr>
          <a:xfrm>
            <a:off x="468000" y="168092"/>
            <a:ext cx="11358240" cy="590400"/>
          </a:xfrm>
          <a:prstGeom prst="rect">
            <a:avLst/>
          </a:prstGeom>
        </p:spPr>
        <p:txBody>
          <a:bodyPr vert="horz">
            <a:normAutofit/>
          </a:bodyPr>
          <a:lstStyle/>
          <a:p>
            <a:pPr marL="457200" lvl="0" indent="-457200" algn="l">
              <a:lnSpc>
                <a:spcPct val="100000"/>
              </a:lnSpc>
              <a:spcBef>
                <a:spcPct val="20000"/>
              </a:spcBef>
              <a:buFont typeface="+mj-lt"/>
              <a:buAutoNum type="arabicPeriod" startAt="2"/>
              <a:defRPr/>
            </a:pPr>
            <a:r>
              <a:rPr lang="sl-SI" dirty="0">
                <a:solidFill>
                  <a:schemeClr val="accent1"/>
                </a:solidFill>
              </a:rPr>
              <a:t>Pregled trajnostne strategije </a:t>
            </a:r>
            <a:r>
              <a:rPr lang="en-US" dirty="0">
                <a:solidFill>
                  <a:schemeClr val="accent1"/>
                </a:solidFill>
              </a:rPr>
              <a:t>NLB</a:t>
            </a:r>
            <a:r>
              <a:rPr lang="sl-SI" dirty="0">
                <a:solidFill>
                  <a:schemeClr val="accent1"/>
                </a:solidFill>
              </a:rPr>
              <a:t> Skupine</a:t>
            </a:r>
            <a:endParaRPr lang="en-US" dirty="0">
              <a:solidFill>
                <a:schemeClr val="accent1"/>
              </a:solidFill>
            </a:endParaRPr>
          </a:p>
        </p:txBody>
      </p:sp>
      <p:sp>
        <p:nvSpPr>
          <p:cNvPr id="40" name="Slide Number Placeholder 3">
            <a:extLst>
              <a:ext uri="{FF2B5EF4-FFF2-40B4-BE49-F238E27FC236}">
                <a16:creationId xmlns:a16="http://schemas.microsoft.com/office/drawing/2014/main" id="{CDED03FA-C55A-4EDD-BC72-BA7905AF5F7D}"/>
              </a:ext>
            </a:extLst>
          </p:cNvPr>
          <p:cNvSpPr txBox="1">
            <a:spLocks/>
          </p:cNvSpPr>
          <p:nvPr/>
        </p:nvSpPr>
        <p:spPr>
          <a:xfrm>
            <a:off x="10020764" y="6651374"/>
            <a:ext cx="1632176" cy="182559"/>
          </a:xfrm>
          <a:prstGeom prst="rect">
            <a:avLst/>
          </a:prstGeom>
        </p:spPr>
        <p:txBody>
          <a:bodyPr anchor="ctr" anchorCtr="0"/>
          <a:lstStyle>
            <a:defPPr>
              <a:defRPr lang="sl-S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24D83F98-C831-4C37-A3FD-3718B42D3DEA}" type="slidenum">
              <a:rPr kumimoji="0" 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6" name="Rectangle 5">
            <a:extLst>
              <a:ext uri="{FF2B5EF4-FFF2-40B4-BE49-F238E27FC236}">
                <a16:creationId xmlns:a16="http://schemas.microsoft.com/office/drawing/2014/main" id="{5EFC7714-8EF2-4BB8-AD32-DF56ED815C0D}"/>
              </a:ext>
            </a:extLst>
          </p:cNvPr>
          <p:cNvSpPr/>
          <p:nvPr/>
        </p:nvSpPr>
        <p:spPr>
          <a:xfrm>
            <a:off x="468000" y="620688"/>
            <a:ext cx="11255999" cy="432170"/>
          </a:xfrm>
          <a:prstGeom prst="rect">
            <a:avLst/>
          </a:prstGeom>
        </p:spPr>
        <p:txBody>
          <a:bodyPr wrap="square" lIns="91440" tIns="45720" rIns="91440" bIns="45720" anchor="t">
            <a:spAutoFit/>
          </a:bodyPr>
          <a:lstStyle/>
          <a:p>
            <a:pPr marL="171450" marR="0" lvl="0" indent="-171450" algn="l" defTabSz="914400" rtl="0" eaLnBrk="1" fontAlgn="auto" latinLnBrk="0" hangingPunct="1">
              <a:lnSpc>
                <a:spcPct val="92000"/>
              </a:lnSpc>
              <a:spcBef>
                <a:spcPts val="0"/>
              </a:spcBef>
              <a:spcAft>
                <a:spcPts val="0"/>
              </a:spcAft>
              <a:buClrTx/>
              <a:buSzTx/>
              <a:buFont typeface="Wingdings" panose="05000000000000000000" pitchFamily="2" charset="2"/>
              <a:buChar char="§"/>
              <a:tabLst/>
              <a:defRPr/>
            </a:pPr>
            <a:r>
              <a:rPr lang="sl-SI" sz="1200" b="1" dirty="0"/>
              <a:t>NLB Skupina beleži trajnostno finančno poslovanje in aktivno prispeva k bolj uravnoteženemu in vključujočemu gospodarskemu in družbenemu sistemu. Naš načrt trajnostnega poslovanja NLB zajema odločen pristop, strateške stebre in celovit trajnostni okvir, podprt z jasnimi akcijskimi načrti.</a:t>
            </a:r>
            <a:endParaRPr kumimoji="0" lang="en-AU" sz="1200" b="1" i="0" u="none" strike="noStrike" kern="1200" cap="none" spc="0" normalizeH="0" baseline="0" noProof="0" dirty="0">
              <a:ln>
                <a:noFill/>
              </a:ln>
              <a:solidFill>
                <a:srgbClr val="757575">
                  <a:lumMod val="75000"/>
                </a:srgbClr>
              </a:solidFill>
              <a:effectLst/>
              <a:uLnTx/>
              <a:uFillTx/>
              <a:latin typeface="Arial" panose="020B0604020202020204" pitchFamily="34" charset="0"/>
              <a:ea typeface="+mn-ea"/>
              <a:cs typeface="Arial" panose="020B0604020202020204" pitchFamily="34" charset="0"/>
            </a:endParaRPr>
          </a:p>
        </p:txBody>
      </p:sp>
      <p:sp>
        <p:nvSpPr>
          <p:cNvPr id="12" name="TextBox 11">
            <a:extLst>
              <a:ext uri="{FF2B5EF4-FFF2-40B4-BE49-F238E27FC236}">
                <a16:creationId xmlns:a16="http://schemas.microsoft.com/office/drawing/2014/main" id="{AA331B7F-0531-405E-8203-EAC10D45E898}"/>
              </a:ext>
            </a:extLst>
          </p:cNvPr>
          <p:cNvSpPr txBox="1"/>
          <p:nvPr/>
        </p:nvSpPr>
        <p:spPr>
          <a:xfrm>
            <a:off x="729597" y="1056008"/>
            <a:ext cx="3968664" cy="276999"/>
          </a:xfrm>
          <a:prstGeom prst="rect">
            <a:avLst/>
          </a:prstGeom>
          <a:noFill/>
          <a:ln>
            <a:noFill/>
          </a:ln>
        </p:spPr>
        <p:txBody>
          <a:bodyPr wrap="square">
            <a:spAutoFit/>
          </a:bodyPr>
          <a:lstStyle/>
          <a:p>
            <a:r>
              <a:rPr kumimoji="0" lang="en-AU" sz="1200" b="1" i="0" u="none" strike="noStrike" kern="1200" cap="none" spc="0" normalizeH="0" baseline="0" noProof="0" dirty="0" err="1">
                <a:ln>
                  <a:noFill/>
                </a:ln>
                <a:solidFill>
                  <a:schemeClr val="accent1"/>
                </a:solidFill>
                <a:effectLst/>
                <a:uLnTx/>
                <a:uFillTx/>
                <a:latin typeface="Arial" panose="020B0604020202020204" pitchFamily="34" charset="0"/>
                <a:ea typeface="+mn-ea"/>
                <a:cs typeface="Arial" panose="020B0604020202020204" pitchFamily="34" charset="0"/>
              </a:rPr>
              <a:t>Izpolnjevanje</a:t>
            </a:r>
            <a:r>
              <a:rPr kumimoji="0" lang="en-AU" sz="1200" b="1" i="0" u="none" strike="noStrike" kern="1200" cap="none" spc="0" normalizeH="0" baseline="0" noProof="0" dirty="0">
                <a:ln>
                  <a:noFill/>
                </a:ln>
                <a:solidFill>
                  <a:schemeClr val="accent1"/>
                </a:solidFill>
                <a:effectLst/>
                <a:uLnTx/>
                <a:uFillTx/>
                <a:latin typeface="Arial" panose="020B0604020202020204" pitchFamily="34" charset="0"/>
                <a:ea typeface="+mn-ea"/>
                <a:cs typeface="Arial" panose="020B0604020202020204" pitchFamily="34" charset="0"/>
              </a:rPr>
              <a:t>  </a:t>
            </a:r>
            <a:r>
              <a:rPr kumimoji="0" lang="en-AU" sz="1200" b="1" i="0" u="none" strike="noStrike" kern="1200" cap="none" spc="0" normalizeH="0" baseline="0" noProof="0" dirty="0" err="1">
                <a:ln>
                  <a:noFill/>
                </a:ln>
                <a:solidFill>
                  <a:schemeClr val="accent1"/>
                </a:solidFill>
                <a:effectLst/>
                <a:uLnTx/>
                <a:uFillTx/>
                <a:latin typeface="Arial" panose="020B0604020202020204" pitchFamily="34" charset="0"/>
                <a:ea typeface="+mn-ea"/>
                <a:cs typeface="Arial" panose="020B0604020202020204" pitchFamily="34" charset="0"/>
              </a:rPr>
              <a:t>potreb</a:t>
            </a:r>
            <a:r>
              <a:rPr kumimoji="0" lang="en-AU" sz="1200" b="1" i="0" u="none" strike="noStrike" kern="1200" cap="none" spc="0" normalizeH="0" baseline="0" noProof="0" dirty="0">
                <a:ln>
                  <a:noFill/>
                </a:ln>
                <a:solidFill>
                  <a:schemeClr val="accent1"/>
                </a:solidFill>
                <a:effectLst/>
                <a:uLnTx/>
                <a:uFillTx/>
                <a:latin typeface="Arial" panose="020B0604020202020204" pitchFamily="34" charset="0"/>
                <a:ea typeface="+mn-ea"/>
                <a:cs typeface="Arial" panose="020B0604020202020204" pitchFamily="34" charset="0"/>
              </a:rPr>
              <a:t> in</a:t>
            </a:r>
            <a:r>
              <a:rPr kumimoji="0" lang="sl-SI" sz="1200" b="1" i="0" u="none" strike="noStrike" kern="1200" cap="none" spc="0" normalizeH="0" baseline="0" noProof="0" dirty="0">
                <a:ln>
                  <a:noFill/>
                </a:ln>
                <a:solidFill>
                  <a:schemeClr val="accent1"/>
                </a:solidFill>
                <a:effectLst/>
                <a:uLnTx/>
                <a:uFillTx/>
                <a:latin typeface="Arial" panose="020B0604020202020204" pitchFamily="34" charset="0"/>
                <a:ea typeface="+mn-ea"/>
                <a:cs typeface="Arial" panose="020B0604020202020204" pitchFamily="34" charset="0"/>
              </a:rPr>
              <a:t> </a:t>
            </a:r>
            <a:r>
              <a:rPr kumimoji="0" lang="en-AU" sz="1200" b="1" i="0" u="none" strike="noStrike" kern="1200" cap="none" spc="0" normalizeH="0" baseline="0" noProof="0" dirty="0" err="1">
                <a:ln>
                  <a:noFill/>
                </a:ln>
                <a:solidFill>
                  <a:schemeClr val="accent1"/>
                </a:solidFill>
                <a:effectLst/>
                <a:uLnTx/>
                <a:uFillTx/>
                <a:latin typeface="Arial" panose="020B0604020202020204" pitchFamily="34" charset="0"/>
                <a:ea typeface="+mn-ea"/>
                <a:cs typeface="Arial" panose="020B0604020202020204" pitchFamily="34" charset="0"/>
              </a:rPr>
              <a:t>pričakovanj</a:t>
            </a:r>
            <a:r>
              <a:rPr lang="sl-SI" sz="1200" b="1" dirty="0">
                <a:solidFill>
                  <a:schemeClr val="accent1"/>
                </a:solidFill>
                <a:latin typeface="Arial" panose="020B0604020202020204" pitchFamily="34" charset="0"/>
                <a:cs typeface="Arial" panose="020B0604020202020204" pitchFamily="34" charset="0"/>
              </a:rPr>
              <a:t> </a:t>
            </a:r>
            <a:r>
              <a:rPr kumimoji="0" lang="en-AU" sz="1200" b="1" i="0" u="none" strike="noStrike" kern="1200" cap="none" spc="0" normalizeH="0" baseline="0" noProof="0" dirty="0" err="1">
                <a:ln>
                  <a:noFill/>
                </a:ln>
                <a:solidFill>
                  <a:schemeClr val="accent1"/>
                </a:solidFill>
                <a:effectLst/>
                <a:uLnTx/>
                <a:uFillTx/>
                <a:latin typeface="Arial" panose="020B0604020202020204" pitchFamily="34" charset="0"/>
                <a:ea typeface="+mn-ea"/>
                <a:cs typeface="Arial" panose="020B0604020202020204" pitchFamily="34" charset="0"/>
              </a:rPr>
              <a:t>deležnikov</a:t>
            </a:r>
            <a:endParaRPr kumimoji="0" lang="en-AU" sz="1200" b="1" i="0" u="none" strike="noStrike" kern="1200" cap="none" spc="0" normalizeH="0" baseline="0" noProof="0" dirty="0">
              <a:ln>
                <a:noFill/>
              </a:ln>
              <a:solidFill>
                <a:schemeClr val="accent1"/>
              </a:solidFill>
              <a:effectLst/>
              <a:uLnTx/>
              <a:uFillTx/>
              <a:latin typeface="Arial" panose="020B0604020202020204" pitchFamily="34" charset="0"/>
              <a:ea typeface="+mn-ea"/>
              <a:cs typeface="Arial" panose="020B0604020202020204" pitchFamily="34" charset="0"/>
            </a:endParaRPr>
          </a:p>
        </p:txBody>
      </p:sp>
      <p:sp>
        <p:nvSpPr>
          <p:cNvPr id="15" name="TextBox 14">
            <a:extLst>
              <a:ext uri="{FF2B5EF4-FFF2-40B4-BE49-F238E27FC236}">
                <a16:creationId xmlns:a16="http://schemas.microsoft.com/office/drawing/2014/main" id="{6F074113-A85E-46DE-81F2-D7ACBB423E1F}"/>
              </a:ext>
            </a:extLst>
          </p:cNvPr>
          <p:cNvSpPr txBox="1"/>
          <p:nvPr/>
        </p:nvSpPr>
        <p:spPr>
          <a:xfrm>
            <a:off x="598270" y="3857857"/>
            <a:ext cx="3380857" cy="276999"/>
          </a:xfrm>
          <a:prstGeom prst="rect">
            <a:avLst/>
          </a:prstGeom>
          <a:noFill/>
          <a:ln>
            <a:noFill/>
          </a:ln>
        </p:spPr>
        <p:txBody>
          <a:bodyPr wrap="square">
            <a:spAutoFit/>
          </a:bodyPr>
          <a:lstStyle/>
          <a:p>
            <a:r>
              <a:rPr kumimoji="0" lang="en-AU" sz="1200" b="1" i="0" u="none" strike="noStrike" kern="1200" cap="none" spc="0" normalizeH="0" baseline="0" noProof="0" dirty="0" err="1">
                <a:ln>
                  <a:noFill/>
                </a:ln>
                <a:solidFill>
                  <a:schemeClr val="accent1"/>
                </a:solidFill>
                <a:effectLst/>
                <a:uLnTx/>
                <a:uFillTx/>
                <a:latin typeface="Arial" panose="020B0604020202020204" pitchFamily="34" charset="0"/>
                <a:ea typeface="+mn-ea"/>
                <a:cs typeface="Arial" panose="020B0604020202020204" pitchFamily="34" charset="0"/>
              </a:rPr>
              <a:t>Sistem</a:t>
            </a:r>
            <a:r>
              <a:rPr kumimoji="0" lang="en-AU" sz="1200" b="1" i="0" u="none" strike="noStrike" kern="1200" cap="none" spc="0" normalizeH="0" baseline="0" noProof="0" dirty="0">
                <a:ln>
                  <a:noFill/>
                </a:ln>
                <a:solidFill>
                  <a:schemeClr val="accent1"/>
                </a:solidFill>
                <a:effectLst/>
                <a:uLnTx/>
                <a:uFillTx/>
                <a:latin typeface="Arial" panose="020B0604020202020204" pitchFamily="34" charset="0"/>
                <a:ea typeface="+mn-ea"/>
                <a:cs typeface="Arial" panose="020B0604020202020204" pitchFamily="34" charset="0"/>
              </a:rPr>
              <a:t> </a:t>
            </a:r>
            <a:r>
              <a:rPr kumimoji="0" lang="en-AU" sz="1200" b="1" i="0" u="none" strike="noStrike" kern="1200" cap="none" spc="0" normalizeH="0" baseline="0" noProof="0" dirty="0" err="1">
                <a:ln>
                  <a:noFill/>
                </a:ln>
                <a:solidFill>
                  <a:schemeClr val="accent1"/>
                </a:solidFill>
                <a:effectLst/>
                <a:uLnTx/>
                <a:uFillTx/>
                <a:latin typeface="Arial" panose="020B0604020202020204" pitchFamily="34" charset="0"/>
                <a:ea typeface="+mn-ea"/>
                <a:cs typeface="Arial" panose="020B0604020202020204" pitchFamily="34" charset="0"/>
              </a:rPr>
              <a:t>upravljanja</a:t>
            </a:r>
            <a:r>
              <a:rPr kumimoji="0" lang="sl-SI" sz="1200" b="1" i="0" u="none" strike="noStrike" kern="1200" cap="none" spc="0" normalizeH="0" baseline="0" noProof="0" dirty="0">
                <a:ln>
                  <a:noFill/>
                </a:ln>
                <a:solidFill>
                  <a:schemeClr val="accent1"/>
                </a:solidFill>
                <a:effectLst/>
                <a:uLnTx/>
                <a:uFillTx/>
                <a:latin typeface="Arial" panose="020B0604020202020204" pitchFamily="34" charset="0"/>
                <a:ea typeface="+mn-ea"/>
                <a:cs typeface="Arial" panose="020B0604020202020204" pitchFamily="34" charset="0"/>
              </a:rPr>
              <a:t> </a:t>
            </a:r>
            <a:r>
              <a:rPr kumimoji="0" lang="en-AU" sz="1200" b="1" i="0" u="none" strike="noStrike" kern="1200" cap="none" spc="0" normalizeH="0" baseline="0" noProof="0" dirty="0" err="1">
                <a:ln>
                  <a:noFill/>
                </a:ln>
                <a:solidFill>
                  <a:schemeClr val="accent1"/>
                </a:solidFill>
                <a:effectLst/>
                <a:uLnTx/>
                <a:uFillTx/>
                <a:latin typeface="Arial" panose="020B0604020202020204" pitchFamily="34" charset="0"/>
                <a:ea typeface="+mn-ea"/>
                <a:cs typeface="Arial" panose="020B0604020202020204" pitchFamily="34" charset="0"/>
              </a:rPr>
              <a:t>okolja</a:t>
            </a:r>
            <a:r>
              <a:rPr kumimoji="0" lang="en-AU" sz="1200" b="1" i="0" u="none" strike="noStrike" kern="1200" cap="none" spc="0" normalizeH="0" baseline="0" noProof="0" dirty="0">
                <a:ln>
                  <a:noFill/>
                </a:ln>
                <a:solidFill>
                  <a:schemeClr val="accent1"/>
                </a:solidFill>
                <a:effectLst/>
                <a:uLnTx/>
                <a:uFillTx/>
                <a:latin typeface="Arial" panose="020B0604020202020204" pitchFamily="34" charset="0"/>
                <a:ea typeface="+mn-ea"/>
                <a:cs typeface="Arial" panose="020B0604020202020204" pitchFamily="34" charset="0"/>
              </a:rPr>
              <a:t> in </a:t>
            </a:r>
            <a:r>
              <a:rPr kumimoji="0" lang="en-AU" sz="1200" b="1" i="0" u="none" strike="noStrike" kern="1200" cap="none" spc="0" normalizeH="0" baseline="0" noProof="0" dirty="0" err="1">
                <a:ln>
                  <a:noFill/>
                </a:ln>
                <a:solidFill>
                  <a:schemeClr val="accent1"/>
                </a:solidFill>
                <a:effectLst/>
                <a:uLnTx/>
                <a:uFillTx/>
                <a:latin typeface="Arial" panose="020B0604020202020204" pitchFamily="34" charset="0"/>
                <a:ea typeface="+mn-ea"/>
                <a:cs typeface="Arial" panose="020B0604020202020204" pitchFamily="34" charset="0"/>
              </a:rPr>
              <a:t>družbe</a:t>
            </a:r>
            <a:r>
              <a:rPr kumimoji="0" lang="en-AU" sz="1200" b="1" i="0" u="none" strike="noStrike" kern="1200" cap="none" spc="0" normalizeH="0" baseline="0" noProof="0" dirty="0">
                <a:ln>
                  <a:noFill/>
                </a:ln>
                <a:solidFill>
                  <a:schemeClr val="accent1"/>
                </a:solidFill>
                <a:effectLst/>
                <a:uLnTx/>
                <a:uFillTx/>
                <a:latin typeface="Arial" panose="020B0604020202020204" pitchFamily="34" charset="0"/>
                <a:ea typeface="+mn-ea"/>
                <a:cs typeface="Arial" panose="020B0604020202020204" pitchFamily="34" charset="0"/>
              </a:rPr>
              <a:t> (ESMS)</a:t>
            </a:r>
          </a:p>
        </p:txBody>
      </p:sp>
      <p:sp>
        <p:nvSpPr>
          <p:cNvPr id="19" name="TextBox 18">
            <a:extLst>
              <a:ext uri="{FF2B5EF4-FFF2-40B4-BE49-F238E27FC236}">
                <a16:creationId xmlns:a16="http://schemas.microsoft.com/office/drawing/2014/main" id="{A67420E9-B596-4BFB-AD07-723E148C0664}"/>
              </a:ext>
            </a:extLst>
          </p:cNvPr>
          <p:cNvSpPr txBox="1"/>
          <p:nvPr/>
        </p:nvSpPr>
        <p:spPr>
          <a:xfrm>
            <a:off x="4497547" y="5167634"/>
            <a:ext cx="3371551" cy="276999"/>
          </a:xfrm>
          <a:prstGeom prst="rect">
            <a:avLst/>
          </a:prstGeom>
          <a:noFill/>
          <a:ln>
            <a:noFill/>
          </a:ln>
        </p:spPr>
        <p:txBody>
          <a:bodyPr wrap="square">
            <a:spAutoFit/>
          </a:bodyPr>
          <a:lstStyle/>
          <a:p>
            <a:r>
              <a:rPr kumimoji="0" lang="en-AU" sz="1200" b="1" i="0" u="none" strike="noStrike" kern="1200" cap="none" spc="0" normalizeH="0" baseline="0" noProof="0" dirty="0" err="1">
                <a:ln>
                  <a:noFill/>
                </a:ln>
                <a:solidFill>
                  <a:schemeClr val="accent1"/>
                </a:solidFill>
                <a:effectLst/>
                <a:uLnTx/>
                <a:uFillTx/>
                <a:latin typeface="Arial" panose="020B0604020202020204" pitchFamily="34" charset="0"/>
                <a:ea typeface="+mn-ea"/>
                <a:cs typeface="Arial" panose="020B0604020202020204" pitchFamily="34" charset="0"/>
              </a:rPr>
              <a:t>Načela</a:t>
            </a:r>
            <a:r>
              <a:rPr kumimoji="0" lang="en-AU" sz="1200" b="1" i="0" u="none" strike="noStrike" kern="1200" cap="none" spc="0" normalizeH="0" baseline="0" noProof="0" dirty="0">
                <a:ln>
                  <a:noFill/>
                </a:ln>
                <a:solidFill>
                  <a:schemeClr val="accent1"/>
                </a:solidFill>
                <a:effectLst/>
                <a:uLnTx/>
                <a:uFillTx/>
                <a:latin typeface="Arial" panose="020B0604020202020204" pitchFamily="34" charset="0"/>
                <a:ea typeface="+mn-ea"/>
                <a:cs typeface="Arial" panose="020B0604020202020204" pitchFamily="34" charset="0"/>
              </a:rPr>
              <a:t> za </a:t>
            </a:r>
            <a:r>
              <a:rPr kumimoji="0" lang="en-AU" sz="1200" b="1" i="0" u="none" strike="noStrike" kern="1200" cap="none" spc="0" normalizeH="0" baseline="0" noProof="0" dirty="0" err="1">
                <a:ln>
                  <a:noFill/>
                </a:ln>
                <a:solidFill>
                  <a:schemeClr val="accent1"/>
                </a:solidFill>
                <a:effectLst/>
                <a:uLnTx/>
                <a:uFillTx/>
                <a:latin typeface="Arial" panose="020B0604020202020204" pitchFamily="34" charset="0"/>
                <a:ea typeface="+mn-ea"/>
                <a:cs typeface="Arial" panose="020B0604020202020204" pitchFamily="34" charset="0"/>
              </a:rPr>
              <a:t>odgovorno</a:t>
            </a:r>
            <a:r>
              <a:rPr kumimoji="0" lang="en-AU" sz="1200" b="1" i="0" u="none" strike="noStrike" kern="1200" cap="none" spc="0" normalizeH="0" baseline="0" noProof="0" dirty="0">
                <a:ln>
                  <a:noFill/>
                </a:ln>
                <a:solidFill>
                  <a:schemeClr val="accent1"/>
                </a:solidFill>
                <a:effectLst/>
                <a:uLnTx/>
                <a:uFillTx/>
                <a:latin typeface="Arial" panose="020B0604020202020204" pitchFamily="34" charset="0"/>
                <a:ea typeface="+mn-ea"/>
                <a:cs typeface="Arial" panose="020B0604020202020204" pitchFamily="34" charset="0"/>
              </a:rPr>
              <a:t> </a:t>
            </a:r>
            <a:r>
              <a:rPr kumimoji="0" lang="sl-SI" sz="1200" b="1" i="0" u="none" strike="noStrike" kern="1200" cap="none" spc="0" normalizeH="0" baseline="0" noProof="0" dirty="0">
                <a:ln>
                  <a:noFill/>
                </a:ln>
                <a:solidFill>
                  <a:schemeClr val="accent1"/>
                </a:solidFill>
                <a:effectLst/>
                <a:uLnTx/>
                <a:uFillTx/>
                <a:latin typeface="Arial" panose="020B0604020202020204" pitchFamily="34" charset="0"/>
                <a:ea typeface="+mn-ea"/>
                <a:cs typeface="Arial" panose="020B0604020202020204" pitchFamily="34" charset="0"/>
              </a:rPr>
              <a:t> </a:t>
            </a:r>
            <a:r>
              <a:rPr kumimoji="0" lang="en-AU" sz="1200" b="1" i="0" u="none" strike="noStrike" kern="1200" cap="none" spc="0" normalizeH="0" baseline="0" noProof="0" dirty="0" err="1">
                <a:ln>
                  <a:noFill/>
                </a:ln>
                <a:solidFill>
                  <a:schemeClr val="accent1"/>
                </a:solidFill>
                <a:effectLst/>
                <a:uLnTx/>
                <a:uFillTx/>
                <a:latin typeface="Arial" panose="020B0604020202020204" pitchFamily="34" charset="0"/>
                <a:ea typeface="+mn-ea"/>
                <a:cs typeface="Arial" panose="020B0604020202020204" pitchFamily="34" charset="0"/>
              </a:rPr>
              <a:t>bančništvo</a:t>
            </a:r>
            <a:endParaRPr kumimoji="0" lang="en-AU" sz="1200" b="1" i="0" u="none" strike="noStrike" kern="1200" cap="none" spc="0" normalizeH="0" baseline="0" noProof="0" dirty="0">
              <a:ln>
                <a:noFill/>
              </a:ln>
              <a:solidFill>
                <a:schemeClr val="accent1"/>
              </a:solidFill>
              <a:effectLst/>
              <a:uLnTx/>
              <a:uFillTx/>
              <a:latin typeface="Arial" panose="020B0604020202020204" pitchFamily="34" charset="0"/>
              <a:ea typeface="+mn-ea"/>
              <a:cs typeface="Arial" panose="020B0604020202020204" pitchFamily="34" charset="0"/>
            </a:endParaRPr>
          </a:p>
        </p:txBody>
      </p:sp>
      <p:sp>
        <p:nvSpPr>
          <p:cNvPr id="21" name="TextBox 20">
            <a:extLst>
              <a:ext uri="{FF2B5EF4-FFF2-40B4-BE49-F238E27FC236}">
                <a16:creationId xmlns:a16="http://schemas.microsoft.com/office/drawing/2014/main" id="{5A353543-AEF1-4243-8375-9B4B6E2DF8EF}"/>
              </a:ext>
            </a:extLst>
          </p:cNvPr>
          <p:cNvSpPr txBox="1"/>
          <p:nvPr/>
        </p:nvSpPr>
        <p:spPr>
          <a:xfrm>
            <a:off x="8053502" y="3725046"/>
            <a:ext cx="3599438" cy="276999"/>
          </a:xfrm>
          <a:prstGeom prst="rect">
            <a:avLst/>
          </a:prstGeom>
          <a:noFill/>
          <a:ln>
            <a:noFill/>
          </a:ln>
        </p:spPr>
        <p:txBody>
          <a:bodyPr wrap="square">
            <a:spAutoFit/>
          </a:bodyPr>
          <a:lstStyle/>
          <a:p>
            <a:r>
              <a:rPr kumimoji="0" lang="en-AU" sz="1200" b="1" i="0" u="none" strike="noStrike" kern="1200" cap="none" spc="0" normalizeH="0" baseline="0" noProof="0" dirty="0" err="1">
                <a:ln>
                  <a:noFill/>
                </a:ln>
                <a:solidFill>
                  <a:schemeClr val="accent1"/>
                </a:solidFill>
                <a:effectLst/>
                <a:uLnTx/>
                <a:uFillTx/>
                <a:latin typeface="Arial" panose="020B0604020202020204" pitchFamily="34" charset="0"/>
                <a:ea typeface="+mn-ea"/>
                <a:cs typeface="Arial" panose="020B0604020202020204" pitchFamily="34" charset="0"/>
              </a:rPr>
              <a:t>Strategija</a:t>
            </a:r>
            <a:r>
              <a:rPr kumimoji="0" lang="en-AU" sz="1200" b="1" i="0" u="none" strike="noStrike" kern="1200" cap="none" spc="0" normalizeH="0" baseline="0" noProof="0" dirty="0">
                <a:ln>
                  <a:noFill/>
                </a:ln>
                <a:solidFill>
                  <a:schemeClr val="accent1"/>
                </a:solidFill>
                <a:effectLst/>
                <a:uLnTx/>
                <a:uFillTx/>
                <a:latin typeface="Arial" panose="020B0604020202020204" pitchFamily="34" charset="0"/>
                <a:ea typeface="+mn-ea"/>
                <a:cs typeface="Arial" panose="020B0604020202020204" pitchFamily="34" charset="0"/>
              </a:rPr>
              <a:t> </a:t>
            </a:r>
            <a:r>
              <a:rPr kumimoji="0" lang="en-AU" sz="1200" b="1" i="0" u="none" strike="noStrike" kern="1200" cap="none" spc="0" normalizeH="0" baseline="0" noProof="0" dirty="0" err="1">
                <a:ln>
                  <a:noFill/>
                </a:ln>
                <a:solidFill>
                  <a:schemeClr val="accent1"/>
                </a:solidFill>
                <a:effectLst/>
                <a:uLnTx/>
                <a:uFillTx/>
                <a:latin typeface="Arial" panose="020B0604020202020204" pitchFamily="34" charset="0"/>
                <a:ea typeface="+mn-ea"/>
                <a:cs typeface="Arial" panose="020B0604020202020204" pitchFamily="34" charset="0"/>
              </a:rPr>
              <a:t>podnebno</a:t>
            </a:r>
            <a:r>
              <a:rPr kumimoji="0" lang="en-AU" sz="1200" b="1" i="0" u="none" strike="noStrike" kern="1200" cap="none" spc="0" normalizeH="0" baseline="0" noProof="0" dirty="0">
                <a:ln>
                  <a:noFill/>
                </a:ln>
                <a:solidFill>
                  <a:schemeClr val="accent1"/>
                </a:solidFill>
                <a:effectLst/>
                <a:uLnTx/>
                <a:uFillTx/>
                <a:latin typeface="Arial" panose="020B0604020202020204" pitchFamily="34" charset="0"/>
                <a:ea typeface="+mn-ea"/>
                <a:cs typeface="Arial" panose="020B0604020202020204" pitchFamily="34" charset="0"/>
              </a:rPr>
              <a:t> </a:t>
            </a:r>
            <a:r>
              <a:rPr kumimoji="0" lang="en-AU" sz="1200" b="1" i="0" u="none" strike="noStrike" kern="1200" cap="none" spc="0" normalizeH="0" baseline="0" noProof="0" dirty="0" err="1">
                <a:ln>
                  <a:noFill/>
                </a:ln>
                <a:solidFill>
                  <a:schemeClr val="accent1"/>
                </a:solidFill>
                <a:effectLst/>
                <a:uLnTx/>
                <a:uFillTx/>
                <a:latin typeface="Arial" panose="020B0604020202020204" pitchFamily="34" charset="0"/>
                <a:ea typeface="+mn-ea"/>
                <a:cs typeface="Arial" panose="020B0604020202020204" pitchFamily="34" charset="0"/>
              </a:rPr>
              <a:t>nevtralnega</a:t>
            </a:r>
            <a:r>
              <a:rPr kumimoji="0" lang="en-AU" sz="1200" b="1" i="0" u="none" strike="noStrike" kern="1200" cap="none" spc="0" normalizeH="0" baseline="0" noProof="0" dirty="0">
                <a:ln>
                  <a:noFill/>
                </a:ln>
                <a:solidFill>
                  <a:schemeClr val="accent1"/>
                </a:solidFill>
                <a:effectLst/>
                <a:uLnTx/>
                <a:uFillTx/>
                <a:latin typeface="Arial" panose="020B0604020202020204" pitchFamily="34" charset="0"/>
                <a:ea typeface="+mn-ea"/>
                <a:cs typeface="Arial" panose="020B0604020202020204" pitchFamily="34" charset="0"/>
              </a:rPr>
              <a:t> </a:t>
            </a:r>
            <a:r>
              <a:rPr kumimoji="0" lang="en-AU" sz="1200" b="1" i="0" u="none" strike="noStrike" kern="1200" cap="none" spc="0" normalizeH="0" baseline="0" noProof="0" dirty="0" err="1">
                <a:ln>
                  <a:noFill/>
                </a:ln>
                <a:solidFill>
                  <a:schemeClr val="accent1"/>
                </a:solidFill>
                <a:effectLst/>
                <a:uLnTx/>
                <a:uFillTx/>
                <a:latin typeface="Arial" panose="020B0604020202020204" pitchFamily="34" charset="0"/>
                <a:ea typeface="+mn-ea"/>
                <a:cs typeface="Arial" panose="020B0604020202020204" pitchFamily="34" charset="0"/>
              </a:rPr>
              <a:t>poslovanja</a:t>
            </a:r>
            <a:endParaRPr kumimoji="0" lang="en-AU" sz="1200" b="1" i="0" u="none" strike="noStrike" kern="1200" cap="none" spc="0" normalizeH="0" baseline="0" noProof="0" dirty="0">
              <a:ln>
                <a:noFill/>
              </a:ln>
              <a:solidFill>
                <a:schemeClr val="accent1"/>
              </a:solidFill>
              <a:effectLst/>
              <a:uLnTx/>
              <a:uFillTx/>
              <a:latin typeface="Arial" panose="020B0604020202020204" pitchFamily="34" charset="0"/>
              <a:ea typeface="+mn-ea"/>
              <a:cs typeface="Arial" panose="020B0604020202020204" pitchFamily="34" charset="0"/>
            </a:endParaRPr>
          </a:p>
        </p:txBody>
      </p:sp>
      <p:sp>
        <p:nvSpPr>
          <p:cNvPr id="23" name="TextBox 22">
            <a:extLst>
              <a:ext uri="{FF2B5EF4-FFF2-40B4-BE49-F238E27FC236}">
                <a16:creationId xmlns:a16="http://schemas.microsoft.com/office/drawing/2014/main" id="{9BB50B5B-63CD-435A-8610-406952B3D6A8}"/>
              </a:ext>
            </a:extLst>
          </p:cNvPr>
          <p:cNvSpPr txBox="1"/>
          <p:nvPr/>
        </p:nvSpPr>
        <p:spPr>
          <a:xfrm>
            <a:off x="7981600" y="1060206"/>
            <a:ext cx="3226968" cy="276999"/>
          </a:xfrm>
          <a:prstGeom prst="rect">
            <a:avLst/>
          </a:prstGeom>
          <a:noFill/>
          <a:ln>
            <a:noFill/>
          </a:ln>
        </p:spPr>
        <p:txBody>
          <a:bodyPr wrap="square">
            <a:spAutoFit/>
          </a:bodyPr>
          <a:lstStyle/>
          <a:p>
            <a:r>
              <a:rPr kumimoji="0" lang="sl-SI" sz="1200" b="1" i="0" u="none" strike="noStrike" kern="1200" cap="none" spc="0" normalizeH="0" baseline="0" noProof="0" dirty="0">
                <a:ln>
                  <a:noFill/>
                </a:ln>
                <a:solidFill>
                  <a:schemeClr val="accent1"/>
                </a:solidFill>
                <a:effectLst/>
                <a:uLnTx/>
                <a:uFillTx/>
                <a:latin typeface="Arial" panose="020B0604020202020204" pitchFamily="34" charset="0"/>
                <a:ea typeface="+mn-ea"/>
                <a:cs typeface="Arial" panose="020B0604020202020204" pitchFamily="34" charset="0"/>
              </a:rPr>
              <a:t>O</a:t>
            </a:r>
            <a:r>
              <a:rPr kumimoji="0" lang="en-AU" sz="1200" b="1" i="0" u="none" strike="noStrike" kern="1200" cap="none" spc="0" normalizeH="0" baseline="0" noProof="0" dirty="0" err="1">
                <a:ln>
                  <a:noFill/>
                </a:ln>
                <a:solidFill>
                  <a:schemeClr val="accent1"/>
                </a:solidFill>
                <a:effectLst/>
                <a:uLnTx/>
                <a:uFillTx/>
                <a:latin typeface="Arial" panose="020B0604020202020204" pitchFamily="34" charset="0"/>
                <a:ea typeface="+mn-ea"/>
                <a:cs typeface="Arial" panose="020B0604020202020204" pitchFamily="34" charset="0"/>
              </a:rPr>
              <a:t>kvir</a:t>
            </a:r>
            <a:r>
              <a:rPr kumimoji="0" lang="en-AU" sz="1200" b="1" i="0" u="none" strike="noStrike" kern="1200" cap="none" spc="0" normalizeH="0" baseline="0" noProof="0" dirty="0">
                <a:ln>
                  <a:noFill/>
                </a:ln>
                <a:solidFill>
                  <a:schemeClr val="accent1"/>
                </a:solidFill>
                <a:effectLst/>
                <a:uLnTx/>
                <a:uFillTx/>
                <a:latin typeface="Arial" panose="020B0604020202020204" pitchFamily="34" charset="0"/>
                <a:ea typeface="+mn-ea"/>
                <a:cs typeface="Arial" panose="020B0604020202020204" pitchFamily="34" charset="0"/>
              </a:rPr>
              <a:t> </a:t>
            </a:r>
            <a:r>
              <a:rPr kumimoji="0" lang="en-AU" sz="1200" b="1" i="0" u="none" strike="noStrike" kern="1200" cap="none" spc="0" normalizeH="0" baseline="0" noProof="0" dirty="0" err="1">
                <a:ln>
                  <a:noFill/>
                </a:ln>
                <a:solidFill>
                  <a:schemeClr val="accent1"/>
                </a:solidFill>
                <a:effectLst/>
                <a:uLnTx/>
                <a:uFillTx/>
                <a:latin typeface="Arial" panose="020B0604020202020204" pitchFamily="34" charset="0"/>
                <a:ea typeface="+mn-ea"/>
                <a:cs typeface="Arial" panose="020B0604020202020204" pitchFamily="34" charset="0"/>
              </a:rPr>
              <a:t>trajnostnega</a:t>
            </a:r>
            <a:r>
              <a:rPr kumimoji="0" lang="sl-SI" sz="1200" b="1" i="0" u="none" strike="noStrike" kern="1200" cap="none" spc="0" normalizeH="0" baseline="0" noProof="0" dirty="0">
                <a:ln>
                  <a:noFill/>
                </a:ln>
                <a:solidFill>
                  <a:schemeClr val="accent1"/>
                </a:solidFill>
                <a:effectLst/>
                <a:uLnTx/>
                <a:uFillTx/>
                <a:latin typeface="Arial" panose="020B0604020202020204" pitchFamily="34" charset="0"/>
                <a:ea typeface="+mn-ea"/>
                <a:cs typeface="Arial" panose="020B0604020202020204" pitchFamily="34" charset="0"/>
              </a:rPr>
              <a:t> </a:t>
            </a:r>
            <a:r>
              <a:rPr kumimoji="0" lang="en-AU" sz="1200" b="1" i="0" u="none" strike="noStrike" kern="1200" cap="none" spc="0" normalizeH="0" baseline="0" noProof="0" dirty="0" err="1">
                <a:ln>
                  <a:noFill/>
                </a:ln>
                <a:solidFill>
                  <a:schemeClr val="accent1"/>
                </a:solidFill>
                <a:effectLst/>
                <a:uLnTx/>
                <a:uFillTx/>
                <a:latin typeface="Arial" panose="020B0604020202020204" pitchFamily="34" charset="0"/>
                <a:ea typeface="+mn-ea"/>
                <a:cs typeface="Arial" panose="020B0604020202020204" pitchFamily="34" charset="0"/>
              </a:rPr>
              <a:t>razvoja</a:t>
            </a:r>
            <a:r>
              <a:rPr kumimoji="0" lang="en-AU" sz="1200" b="1" i="0" u="none" strike="noStrike" kern="1200" cap="none" spc="0" normalizeH="0" baseline="0" noProof="0" dirty="0">
                <a:ln>
                  <a:noFill/>
                </a:ln>
                <a:solidFill>
                  <a:schemeClr val="accent1"/>
                </a:solidFill>
                <a:effectLst/>
                <a:uLnTx/>
                <a:uFillTx/>
                <a:latin typeface="Arial" panose="020B0604020202020204" pitchFamily="34" charset="0"/>
                <a:ea typeface="+mn-ea"/>
                <a:cs typeface="Arial" panose="020B0604020202020204" pitchFamily="34" charset="0"/>
              </a:rPr>
              <a:t> NLB </a:t>
            </a:r>
            <a:r>
              <a:rPr kumimoji="0" lang="en-AU" sz="1200" b="1" i="0" u="none" strike="noStrike" kern="1200" cap="none" spc="0" normalizeH="0" baseline="0" noProof="0" dirty="0" err="1">
                <a:ln>
                  <a:noFill/>
                </a:ln>
                <a:solidFill>
                  <a:schemeClr val="accent1"/>
                </a:solidFill>
                <a:effectLst/>
                <a:uLnTx/>
                <a:uFillTx/>
                <a:latin typeface="Arial" panose="020B0604020202020204" pitchFamily="34" charset="0"/>
                <a:ea typeface="+mn-ea"/>
                <a:cs typeface="Arial" panose="020B0604020202020204" pitchFamily="34" charset="0"/>
              </a:rPr>
              <a:t>Skupine</a:t>
            </a:r>
            <a:endParaRPr kumimoji="0" lang="en-AU" sz="1200" b="1" i="0" u="none" strike="noStrike" kern="1200" cap="none" spc="0" normalizeH="0" baseline="0" noProof="0" dirty="0">
              <a:ln>
                <a:noFill/>
              </a:ln>
              <a:solidFill>
                <a:schemeClr val="accent1"/>
              </a:solidFill>
              <a:effectLst/>
              <a:uLnTx/>
              <a:uFillTx/>
              <a:latin typeface="Arial" panose="020B0604020202020204" pitchFamily="34" charset="0"/>
              <a:ea typeface="+mn-ea"/>
              <a:cs typeface="Arial" panose="020B0604020202020204" pitchFamily="34" charset="0"/>
            </a:endParaRPr>
          </a:p>
        </p:txBody>
      </p:sp>
      <p:sp>
        <p:nvSpPr>
          <p:cNvPr id="26" name="object 13">
            <a:extLst>
              <a:ext uri="{FF2B5EF4-FFF2-40B4-BE49-F238E27FC236}">
                <a16:creationId xmlns:a16="http://schemas.microsoft.com/office/drawing/2014/main" id="{101DE371-717E-43F3-8D61-9F7926B14C22}"/>
              </a:ext>
            </a:extLst>
          </p:cNvPr>
          <p:cNvSpPr txBox="1"/>
          <p:nvPr/>
        </p:nvSpPr>
        <p:spPr>
          <a:xfrm>
            <a:off x="4898373" y="2481980"/>
            <a:ext cx="2517140" cy="1456232"/>
          </a:xfrm>
          <a:prstGeom prst="rect">
            <a:avLst/>
          </a:prstGeom>
        </p:spPr>
        <p:txBody>
          <a:bodyPr vert="horz" wrap="square" lIns="0" tIns="50800" rIns="0" bIns="0" rtlCol="0">
            <a:spAutoFit/>
          </a:bodyPr>
          <a:lstStyle/>
          <a:p>
            <a:pPr marL="13970" marR="5080" indent="-1905" algn="ctr">
              <a:lnSpc>
                <a:spcPts val="2750"/>
              </a:lnSpc>
              <a:spcBef>
                <a:spcPts val="400"/>
              </a:spcBef>
            </a:pPr>
            <a:r>
              <a:rPr lang="sl-SI" sz="2000" b="1" spc="100" dirty="0">
                <a:solidFill>
                  <a:srgbClr val="230078"/>
                </a:solidFill>
                <a:latin typeface="Arial"/>
                <a:cs typeface="Arial"/>
              </a:rPr>
              <a:t>Implementacija trajnosti v poslovni model NLB Skupine</a:t>
            </a:r>
            <a:endParaRPr sz="2000" dirty="0">
              <a:latin typeface="Arial"/>
              <a:cs typeface="Arial"/>
            </a:endParaRPr>
          </a:p>
        </p:txBody>
      </p:sp>
      <p:sp>
        <p:nvSpPr>
          <p:cNvPr id="27" name="object 25">
            <a:extLst>
              <a:ext uri="{FF2B5EF4-FFF2-40B4-BE49-F238E27FC236}">
                <a16:creationId xmlns:a16="http://schemas.microsoft.com/office/drawing/2014/main" id="{366E6618-1D0A-4338-A5E9-40932A7BDE70}"/>
              </a:ext>
            </a:extLst>
          </p:cNvPr>
          <p:cNvSpPr/>
          <p:nvPr/>
        </p:nvSpPr>
        <p:spPr>
          <a:xfrm>
            <a:off x="5898594" y="4858858"/>
            <a:ext cx="534670" cy="267335"/>
          </a:xfrm>
          <a:custGeom>
            <a:avLst/>
            <a:gdLst/>
            <a:ahLst/>
            <a:cxnLst/>
            <a:rect l="l" t="t" r="r" b="b"/>
            <a:pathLst>
              <a:path w="534670" h="267334">
                <a:moveTo>
                  <a:pt x="267284" y="0"/>
                </a:moveTo>
                <a:lnTo>
                  <a:pt x="0" y="267284"/>
                </a:lnTo>
                <a:lnTo>
                  <a:pt x="534568" y="267284"/>
                </a:lnTo>
                <a:lnTo>
                  <a:pt x="267284" y="0"/>
                </a:lnTo>
                <a:close/>
              </a:path>
            </a:pathLst>
          </a:custGeom>
          <a:solidFill>
            <a:schemeClr val="accent1"/>
          </a:solidFill>
        </p:spPr>
        <p:txBody>
          <a:bodyPr wrap="square" lIns="0" tIns="0" rIns="0" bIns="0" rtlCol="0"/>
          <a:lstStyle/>
          <a:p>
            <a:endParaRPr dirty="0"/>
          </a:p>
        </p:txBody>
      </p:sp>
      <p:sp>
        <p:nvSpPr>
          <p:cNvPr id="28" name="object 25">
            <a:extLst>
              <a:ext uri="{FF2B5EF4-FFF2-40B4-BE49-F238E27FC236}">
                <a16:creationId xmlns:a16="http://schemas.microsoft.com/office/drawing/2014/main" id="{ABCE73B7-00AB-49A5-9AC1-B204BA86D4B4}"/>
              </a:ext>
            </a:extLst>
          </p:cNvPr>
          <p:cNvSpPr/>
          <p:nvPr/>
        </p:nvSpPr>
        <p:spPr>
          <a:xfrm rot="4587116">
            <a:off x="4274922" y="3709979"/>
            <a:ext cx="534670" cy="267335"/>
          </a:xfrm>
          <a:custGeom>
            <a:avLst/>
            <a:gdLst/>
            <a:ahLst/>
            <a:cxnLst/>
            <a:rect l="l" t="t" r="r" b="b"/>
            <a:pathLst>
              <a:path w="534670" h="267334">
                <a:moveTo>
                  <a:pt x="267284" y="0"/>
                </a:moveTo>
                <a:lnTo>
                  <a:pt x="0" y="267284"/>
                </a:lnTo>
                <a:lnTo>
                  <a:pt x="534568" y="267284"/>
                </a:lnTo>
                <a:lnTo>
                  <a:pt x="267284" y="0"/>
                </a:lnTo>
                <a:close/>
              </a:path>
            </a:pathLst>
          </a:custGeom>
          <a:solidFill>
            <a:schemeClr val="accent1"/>
          </a:solidFill>
        </p:spPr>
        <p:txBody>
          <a:bodyPr wrap="square" lIns="0" tIns="0" rIns="0" bIns="0" rtlCol="0"/>
          <a:lstStyle/>
          <a:p>
            <a:endParaRPr dirty="0"/>
          </a:p>
        </p:txBody>
      </p:sp>
      <p:sp>
        <p:nvSpPr>
          <p:cNvPr id="29" name="object 25">
            <a:extLst>
              <a:ext uri="{FF2B5EF4-FFF2-40B4-BE49-F238E27FC236}">
                <a16:creationId xmlns:a16="http://schemas.microsoft.com/office/drawing/2014/main" id="{F22E07EA-F6F7-4899-994D-F8C3BACDA854}"/>
              </a:ext>
            </a:extLst>
          </p:cNvPr>
          <p:cNvSpPr/>
          <p:nvPr/>
        </p:nvSpPr>
        <p:spPr>
          <a:xfrm rot="7390275">
            <a:off x="4443872" y="2081609"/>
            <a:ext cx="534670" cy="267335"/>
          </a:xfrm>
          <a:custGeom>
            <a:avLst/>
            <a:gdLst/>
            <a:ahLst/>
            <a:cxnLst/>
            <a:rect l="l" t="t" r="r" b="b"/>
            <a:pathLst>
              <a:path w="534670" h="267334">
                <a:moveTo>
                  <a:pt x="267284" y="0"/>
                </a:moveTo>
                <a:lnTo>
                  <a:pt x="0" y="267284"/>
                </a:lnTo>
                <a:lnTo>
                  <a:pt x="534568" y="267284"/>
                </a:lnTo>
                <a:lnTo>
                  <a:pt x="267284" y="0"/>
                </a:lnTo>
                <a:close/>
              </a:path>
            </a:pathLst>
          </a:custGeom>
          <a:solidFill>
            <a:schemeClr val="accent1"/>
          </a:solidFill>
        </p:spPr>
        <p:txBody>
          <a:bodyPr wrap="square" lIns="0" tIns="0" rIns="0" bIns="0" rtlCol="0"/>
          <a:lstStyle/>
          <a:p>
            <a:endParaRPr dirty="0"/>
          </a:p>
        </p:txBody>
      </p:sp>
      <p:sp>
        <p:nvSpPr>
          <p:cNvPr id="30" name="object 25">
            <a:extLst>
              <a:ext uri="{FF2B5EF4-FFF2-40B4-BE49-F238E27FC236}">
                <a16:creationId xmlns:a16="http://schemas.microsoft.com/office/drawing/2014/main" id="{4A8B9541-0FBE-46B8-8109-1CFE94A1C4AA}"/>
              </a:ext>
            </a:extLst>
          </p:cNvPr>
          <p:cNvSpPr/>
          <p:nvPr/>
        </p:nvSpPr>
        <p:spPr>
          <a:xfrm rot="14720630">
            <a:off x="7329466" y="2081980"/>
            <a:ext cx="534670" cy="267335"/>
          </a:xfrm>
          <a:custGeom>
            <a:avLst/>
            <a:gdLst/>
            <a:ahLst/>
            <a:cxnLst/>
            <a:rect l="l" t="t" r="r" b="b"/>
            <a:pathLst>
              <a:path w="534670" h="267334">
                <a:moveTo>
                  <a:pt x="267284" y="0"/>
                </a:moveTo>
                <a:lnTo>
                  <a:pt x="0" y="267284"/>
                </a:lnTo>
                <a:lnTo>
                  <a:pt x="534568" y="267284"/>
                </a:lnTo>
                <a:lnTo>
                  <a:pt x="267284" y="0"/>
                </a:lnTo>
                <a:close/>
              </a:path>
            </a:pathLst>
          </a:custGeom>
          <a:solidFill>
            <a:schemeClr val="accent1"/>
          </a:solidFill>
        </p:spPr>
        <p:txBody>
          <a:bodyPr wrap="square" lIns="0" tIns="0" rIns="0" bIns="0" rtlCol="0"/>
          <a:lstStyle/>
          <a:p>
            <a:endParaRPr dirty="0"/>
          </a:p>
        </p:txBody>
      </p:sp>
      <p:sp>
        <p:nvSpPr>
          <p:cNvPr id="31" name="object 25">
            <a:extLst>
              <a:ext uri="{FF2B5EF4-FFF2-40B4-BE49-F238E27FC236}">
                <a16:creationId xmlns:a16="http://schemas.microsoft.com/office/drawing/2014/main" id="{5EAA9752-D4D7-49B0-9004-24336F0E9ADD}"/>
              </a:ext>
            </a:extLst>
          </p:cNvPr>
          <p:cNvSpPr/>
          <p:nvPr/>
        </p:nvSpPr>
        <p:spPr>
          <a:xfrm rot="17100000">
            <a:off x="7445565" y="3912790"/>
            <a:ext cx="534670" cy="267335"/>
          </a:xfrm>
          <a:custGeom>
            <a:avLst/>
            <a:gdLst/>
            <a:ahLst/>
            <a:cxnLst/>
            <a:rect l="l" t="t" r="r" b="b"/>
            <a:pathLst>
              <a:path w="534670" h="267334">
                <a:moveTo>
                  <a:pt x="267284" y="0"/>
                </a:moveTo>
                <a:lnTo>
                  <a:pt x="0" y="267284"/>
                </a:lnTo>
                <a:lnTo>
                  <a:pt x="534568" y="267284"/>
                </a:lnTo>
                <a:lnTo>
                  <a:pt x="267284" y="0"/>
                </a:lnTo>
                <a:close/>
              </a:path>
            </a:pathLst>
          </a:custGeom>
          <a:solidFill>
            <a:schemeClr val="accent1"/>
          </a:solidFill>
        </p:spPr>
        <p:txBody>
          <a:bodyPr wrap="square" lIns="0" tIns="0" rIns="0" bIns="0" rtlCol="0"/>
          <a:lstStyle/>
          <a:p>
            <a:endParaRPr dirty="0"/>
          </a:p>
        </p:txBody>
      </p:sp>
      <p:sp>
        <p:nvSpPr>
          <p:cNvPr id="22" name="Rectangle 21">
            <a:extLst>
              <a:ext uri="{FF2B5EF4-FFF2-40B4-BE49-F238E27FC236}">
                <a16:creationId xmlns:a16="http://schemas.microsoft.com/office/drawing/2014/main" id="{D91E7D35-455D-4E6E-8E1B-BFE446CFE7DF}"/>
              </a:ext>
            </a:extLst>
          </p:cNvPr>
          <p:cNvSpPr/>
          <p:nvPr/>
        </p:nvSpPr>
        <p:spPr>
          <a:xfrm>
            <a:off x="8145522" y="4046457"/>
            <a:ext cx="3871046" cy="16731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72000" rtlCol="0" anchor="t">
            <a:spAutoFit/>
          </a:bodyPr>
          <a:lstStyle/>
          <a:p>
            <a:pPr marL="171450" indent="-171450">
              <a:spcAft>
                <a:spcPts val="300"/>
              </a:spcAft>
              <a:buFont typeface="Wingdings" panose="05000000000000000000" pitchFamily="2" charset="2"/>
              <a:buChar char="§"/>
            </a:pPr>
            <a:r>
              <a:rPr lang="en-GB" sz="1200" dirty="0" err="1">
                <a:solidFill>
                  <a:srgbClr val="757575"/>
                </a:solidFill>
              </a:rPr>
              <a:t>Spoštovanje</a:t>
            </a:r>
            <a:r>
              <a:rPr lang="en-GB" sz="1200" dirty="0">
                <a:solidFill>
                  <a:srgbClr val="757575"/>
                </a:solidFill>
              </a:rPr>
              <a:t> </a:t>
            </a:r>
            <a:r>
              <a:rPr lang="en-GB" sz="1200" dirty="0" err="1">
                <a:solidFill>
                  <a:srgbClr val="757575"/>
                </a:solidFill>
              </a:rPr>
              <a:t>zahtev</a:t>
            </a:r>
            <a:r>
              <a:rPr lang="en-GB" sz="1200" dirty="0">
                <a:solidFill>
                  <a:srgbClr val="757575"/>
                </a:solidFill>
              </a:rPr>
              <a:t> UNEP FI - </a:t>
            </a:r>
            <a:r>
              <a:rPr lang="en-GB" sz="1200" dirty="0" err="1">
                <a:solidFill>
                  <a:srgbClr val="757575"/>
                </a:solidFill>
              </a:rPr>
              <a:t>Zavezništva</a:t>
            </a:r>
            <a:r>
              <a:rPr lang="en-GB" sz="1200" dirty="0">
                <a:solidFill>
                  <a:srgbClr val="757575"/>
                </a:solidFill>
              </a:rPr>
              <a:t> za </a:t>
            </a:r>
            <a:r>
              <a:rPr lang="sl-SI" sz="1200" dirty="0">
                <a:solidFill>
                  <a:srgbClr val="757575"/>
                </a:solidFill>
              </a:rPr>
              <a:t> </a:t>
            </a:r>
            <a:r>
              <a:rPr lang="en-GB" sz="1200" dirty="0" err="1">
                <a:solidFill>
                  <a:srgbClr val="757575"/>
                </a:solidFill>
              </a:rPr>
              <a:t>podnebno</a:t>
            </a:r>
            <a:r>
              <a:rPr lang="en-GB" sz="1200" dirty="0">
                <a:solidFill>
                  <a:srgbClr val="757575"/>
                </a:solidFill>
              </a:rPr>
              <a:t> </a:t>
            </a:r>
            <a:r>
              <a:rPr lang="en-GB" sz="1200" dirty="0" err="1">
                <a:solidFill>
                  <a:srgbClr val="757575"/>
                </a:solidFill>
              </a:rPr>
              <a:t>nevtralno</a:t>
            </a:r>
            <a:r>
              <a:rPr lang="en-GB" sz="1200" dirty="0">
                <a:solidFill>
                  <a:srgbClr val="757575"/>
                </a:solidFill>
              </a:rPr>
              <a:t> </a:t>
            </a:r>
            <a:r>
              <a:rPr lang="en-GB" sz="1200" dirty="0" err="1">
                <a:solidFill>
                  <a:srgbClr val="757575"/>
                </a:solidFill>
              </a:rPr>
              <a:t>bančništvo</a:t>
            </a:r>
            <a:r>
              <a:rPr lang="en-GB" sz="1200" dirty="0">
                <a:solidFill>
                  <a:srgbClr val="757575"/>
                </a:solidFill>
              </a:rPr>
              <a:t>. </a:t>
            </a:r>
          </a:p>
          <a:p>
            <a:pPr marL="171450" indent="-171450">
              <a:spcAft>
                <a:spcPts val="300"/>
              </a:spcAft>
              <a:buFont typeface="Wingdings" panose="05000000000000000000" pitchFamily="2" charset="2"/>
              <a:buChar char="§"/>
            </a:pPr>
            <a:r>
              <a:rPr lang="en-GB" sz="1200" b="1" dirty="0" err="1">
                <a:solidFill>
                  <a:srgbClr val="757575"/>
                </a:solidFill>
              </a:rPr>
              <a:t>Izkazovanje</a:t>
            </a:r>
            <a:r>
              <a:rPr lang="en-GB" sz="1200" b="1" dirty="0">
                <a:solidFill>
                  <a:srgbClr val="757575"/>
                </a:solidFill>
              </a:rPr>
              <a:t> </a:t>
            </a:r>
            <a:r>
              <a:rPr lang="en-GB" sz="1200" b="1" dirty="0" err="1">
                <a:solidFill>
                  <a:srgbClr val="757575"/>
                </a:solidFill>
              </a:rPr>
              <a:t>zavezanosti</a:t>
            </a:r>
            <a:r>
              <a:rPr lang="en-GB" sz="1200" b="1" dirty="0">
                <a:solidFill>
                  <a:srgbClr val="757575"/>
                </a:solidFill>
              </a:rPr>
              <a:t> k </a:t>
            </a:r>
            <a:r>
              <a:rPr lang="en-GB" sz="1200" b="1" dirty="0" err="1">
                <a:solidFill>
                  <a:srgbClr val="757575"/>
                </a:solidFill>
              </a:rPr>
              <a:t>nizkoogljičnemu</a:t>
            </a:r>
            <a:r>
              <a:rPr lang="en-GB" sz="1200" b="1" dirty="0">
                <a:solidFill>
                  <a:srgbClr val="757575"/>
                </a:solidFill>
              </a:rPr>
              <a:t> </a:t>
            </a:r>
            <a:r>
              <a:rPr lang="sl-SI" sz="1200" b="1" dirty="0">
                <a:solidFill>
                  <a:srgbClr val="757575"/>
                </a:solidFill>
              </a:rPr>
              <a:t> </a:t>
            </a:r>
            <a:r>
              <a:rPr lang="en-GB" sz="1200" b="1" dirty="0" err="1">
                <a:solidFill>
                  <a:srgbClr val="757575"/>
                </a:solidFill>
              </a:rPr>
              <a:t>gospodarstvu</a:t>
            </a:r>
            <a:r>
              <a:rPr lang="en-GB" sz="1200" b="1" dirty="0">
                <a:solidFill>
                  <a:srgbClr val="757575"/>
                </a:solidFill>
              </a:rPr>
              <a:t> in </a:t>
            </a:r>
            <a:r>
              <a:rPr lang="en-GB" sz="1200" b="1" dirty="0" err="1">
                <a:solidFill>
                  <a:srgbClr val="757575"/>
                </a:solidFill>
              </a:rPr>
              <a:t>financiranju</a:t>
            </a:r>
            <a:r>
              <a:rPr lang="en-GB" sz="1200" b="1" dirty="0">
                <a:solidFill>
                  <a:srgbClr val="757575"/>
                </a:solidFill>
              </a:rPr>
              <a:t> </a:t>
            </a:r>
            <a:r>
              <a:rPr lang="en-GB" sz="1200" b="1" dirty="0" err="1">
                <a:solidFill>
                  <a:srgbClr val="757575"/>
                </a:solidFill>
              </a:rPr>
              <a:t>zelenega</a:t>
            </a:r>
            <a:r>
              <a:rPr lang="en-GB" sz="1200" b="1" dirty="0">
                <a:solidFill>
                  <a:srgbClr val="757575"/>
                </a:solidFill>
              </a:rPr>
              <a:t> </a:t>
            </a:r>
            <a:r>
              <a:rPr lang="en-GB" sz="1200" b="1" dirty="0" err="1">
                <a:solidFill>
                  <a:srgbClr val="757575"/>
                </a:solidFill>
              </a:rPr>
              <a:t>prehoda</a:t>
            </a:r>
            <a:r>
              <a:rPr lang="en-GB" sz="1200" b="1" dirty="0">
                <a:solidFill>
                  <a:srgbClr val="757575"/>
                </a:solidFill>
              </a:rPr>
              <a:t>.</a:t>
            </a:r>
          </a:p>
          <a:p>
            <a:pPr marL="171450" indent="-171450">
              <a:spcAft>
                <a:spcPts val="300"/>
              </a:spcAft>
              <a:buFont typeface="Wingdings" panose="05000000000000000000" pitchFamily="2" charset="2"/>
              <a:buChar char="§"/>
            </a:pPr>
            <a:r>
              <a:rPr lang="en-GB" sz="1200" dirty="0" err="1">
                <a:solidFill>
                  <a:srgbClr val="757575"/>
                </a:solidFill>
              </a:rPr>
              <a:t>Prehod</a:t>
            </a:r>
            <a:r>
              <a:rPr lang="en-GB" sz="1200" dirty="0">
                <a:solidFill>
                  <a:srgbClr val="757575"/>
                </a:solidFill>
              </a:rPr>
              <a:t> </a:t>
            </a:r>
            <a:r>
              <a:rPr lang="en-GB" sz="1200" dirty="0" err="1">
                <a:solidFill>
                  <a:srgbClr val="757575"/>
                </a:solidFill>
              </a:rPr>
              <a:t>operativnih</a:t>
            </a:r>
            <a:r>
              <a:rPr lang="en-GB" sz="1200" dirty="0">
                <a:solidFill>
                  <a:srgbClr val="757575"/>
                </a:solidFill>
              </a:rPr>
              <a:t> in </a:t>
            </a:r>
            <a:r>
              <a:rPr lang="en-GB" sz="1200" dirty="0" err="1">
                <a:solidFill>
                  <a:srgbClr val="757575"/>
                </a:solidFill>
              </a:rPr>
              <a:t>pripisljivih</a:t>
            </a:r>
            <a:r>
              <a:rPr lang="en-GB" sz="1200" dirty="0">
                <a:solidFill>
                  <a:srgbClr val="757575"/>
                </a:solidFill>
              </a:rPr>
              <a:t> </a:t>
            </a:r>
            <a:r>
              <a:rPr lang="en-GB" sz="1200" dirty="0" err="1">
                <a:solidFill>
                  <a:srgbClr val="757575"/>
                </a:solidFill>
              </a:rPr>
              <a:t>emisij</a:t>
            </a:r>
            <a:r>
              <a:rPr lang="en-GB" sz="1200" dirty="0">
                <a:solidFill>
                  <a:srgbClr val="757575"/>
                </a:solidFill>
              </a:rPr>
              <a:t> </a:t>
            </a:r>
            <a:r>
              <a:rPr lang="sl-SI" sz="1200" dirty="0">
                <a:solidFill>
                  <a:srgbClr val="757575"/>
                </a:solidFill>
              </a:rPr>
              <a:t> </a:t>
            </a:r>
            <a:r>
              <a:rPr lang="en-GB" sz="1200" dirty="0" err="1">
                <a:solidFill>
                  <a:srgbClr val="757575"/>
                </a:solidFill>
              </a:rPr>
              <a:t>toplogrednih</a:t>
            </a:r>
            <a:r>
              <a:rPr lang="en-GB" sz="1200" dirty="0">
                <a:solidFill>
                  <a:srgbClr val="757575"/>
                </a:solidFill>
              </a:rPr>
              <a:t> </a:t>
            </a:r>
            <a:r>
              <a:rPr lang="en-GB" sz="1200" dirty="0" err="1">
                <a:solidFill>
                  <a:srgbClr val="757575"/>
                </a:solidFill>
              </a:rPr>
              <a:t>plinov</a:t>
            </a:r>
            <a:r>
              <a:rPr lang="en-GB" sz="1200" dirty="0">
                <a:solidFill>
                  <a:srgbClr val="757575"/>
                </a:solidFill>
              </a:rPr>
              <a:t> </a:t>
            </a:r>
            <a:r>
              <a:rPr lang="en-GB" sz="1200" dirty="0" err="1">
                <a:solidFill>
                  <a:srgbClr val="757575"/>
                </a:solidFill>
              </a:rPr>
              <a:t>iz</a:t>
            </a:r>
            <a:r>
              <a:rPr lang="en-GB" sz="1200" dirty="0">
                <a:solidFill>
                  <a:srgbClr val="757575"/>
                </a:solidFill>
              </a:rPr>
              <a:t> </a:t>
            </a:r>
            <a:r>
              <a:rPr lang="en-GB" sz="1200" dirty="0" err="1">
                <a:solidFill>
                  <a:srgbClr val="757575"/>
                </a:solidFill>
              </a:rPr>
              <a:t>kreditnih</a:t>
            </a:r>
            <a:r>
              <a:rPr lang="en-GB" sz="1200" dirty="0">
                <a:solidFill>
                  <a:srgbClr val="757575"/>
                </a:solidFill>
              </a:rPr>
              <a:t> in </a:t>
            </a:r>
            <a:r>
              <a:rPr lang="en-GB" sz="1200" dirty="0" err="1">
                <a:solidFill>
                  <a:srgbClr val="757575"/>
                </a:solidFill>
              </a:rPr>
              <a:t>naložbenih</a:t>
            </a:r>
            <a:r>
              <a:rPr lang="en-GB" sz="1200" dirty="0">
                <a:solidFill>
                  <a:srgbClr val="757575"/>
                </a:solidFill>
              </a:rPr>
              <a:t> </a:t>
            </a:r>
            <a:r>
              <a:rPr lang="en-GB" sz="1200" dirty="0" err="1">
                <a:solidFill>
                  <a:srgbClr val="757575"/>
                </a:solidFill>
              </a:rPr>
              <a:t>portfeljev</a:t>
            </a:r>
            <a:r>
              <a:rPr lang="en-GB" sz="1200" dirty="0">
                <a:solidFill>
                  <a:srgbClr val="757575"/>
                </a:solidFill>
              </a:rPr>
              <a:t> v </a:t>
            </a:r>
            <a:r>
              <a:rPr lang="en-GB" sz="1200" dirty="0" err="1">
                <a:solidFill>
                  <a:srgbClr val="757575"/>
                </a:solidFill>
              </a:rPr>
              <a:t>usklajenost</a:t>
            </a:r>
            <a:r>
              <a:rPr lang="en-GB" sz="1200" dirty="0">
                <a:solidFill>
                  <a:srgbClr val="757575"/>
                </a:solidFill>
              </a:rPr>
              <a:t> s </a:t>
            </a:r>
            <a:r>
              <a:rPr lang="en-GB" sz="1200" dirty="0" err="1">
                <a:solidFill>
                  <a:srgbClr val="757575"/>
                </a:solidFill>
              </a:rPr>
              <a:t>potmi</a:t>
            </a:r>
            <a:r>
              <a:rPr lang="en-GB" sz="1200" dirty="0">
                <a:solidFill>
                  <a:srgbClr val="757575"/>
                </a:solidFill>
              </a:rPr>
              <a:t> do </a:t>
            </a:r>
            <a:r>
              <a:rPr lang="en-GB" sz="1200" dirty="0" err="1">
                <a:solidFill>
                  <a:srgbClr val="757575"/>
                </a:solidFill>
              </a:rPr>
              <a:t>podnebne</a:t>
            </a:r>
            <a:r>
              <a:rPr lang="en-GB" sz="1200" dirty="0">
                <a:solidFill>
                  <a:srgbClr val="757575"/>
                </a:solidFill>
              </a:rPr>
              <a:t> </a:t>
            </a:r>
            <a:r>
              <a:rPr lang="en-GB" sz="1200" dirty="0" err="1">
                <a:solidFill>
                  <a:srgbClr val="757575"/>
                </a:solidFill>
              </a:rPr>
              <a:t>nevtralnosti</a:t>
            </a:r>
            <a:r>
              <a:rPr lang="en-GB" sz="1200" dirty="0">
                <a:solidFill>
                  <a:srgbClr val="757575"/>
                </a:solidFill>
              </a:rPr>
              <a:t> </a:t>
            </a:r>
            <a:r>
              <a:rPr lang="en-GB" sz="1200" dirty="0" err="1">
                <a:solidFill>
                  <a:srgbClr val="757575"/>
                </a:solidFill>
              </a:rPr>
              <a:t>najkasneje</a:t>
            </a:r>
            <a:r>
              <a:rPr lang="en-GB" sz="1200" dirty="0">
                <a:solidFill>
                  <a:srgbClr val="757575"/>
                </a:solidFill>
              </a:rPr>
              <a:t> do </a:t>
            </a:r>
            <a:r>
              <a:rPr lang="en-GB" sz="1200" dirty="0" err="1">
                <a:solidFill>
                  <a:srgbClr val="757575"/>
                </a:solidFill>
              </a:rPr>
              <a:t>leta</a:t>
            </a:r>
            <a:r>
              <a:rPr lang="en-GB" sz="1200" dirty="0">
                <a:solidFill>
                  <a:srgbClr val="757575"/>
                </a:solidFill>
              </a:rPr>
              <a:t> 2050.</a:t>
            </a:r>
            <a:r>
              <a:rPr lang="sl-SI" sz="1200" dirty="0">
                <a:solidFill>
                  <a:srgbClr val="757575"/>
                </a:solidFill>
              </a:rPr>
              <a:t> </a:t>
            </a:r>
            <a:endParaRPr lang="en-GB" sz="1200" dirty="0">
              <a:solidFill>
                <a:srgbClr val="757575"/>
              </a:solidFill>
            </a:endParaRPr>
          </a:p>
        </p:txBody>
      </p:sp>
      <p:sp>
        <p:nvSpPr>
          <p:cNvPr id="2" name="Rectangle 1">
            <a:extLst>
              <a:ext uri="{FF2B5EF4-FFF2-40B4-BE49-F238E27FC236}">
                <a16:creationId xmlns:a16="http://schemas.microsoft.com/office/drawing/2014/main" id="{ABA1230F-254E-A8EB-0D88-A978C5E58222}"/>
              </a:ext>
            </a:extLst>
          </p:cNvPr>
          <p:cNvSpPr/>
          <p:nvPr/>
        </p:nvSpPr>
        <p:spPr>
          <a:xfrm>
            <a:off x="1615256" y="5949280"/>
            <a:ext cx="952352" cy="4320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0980786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0388016-2041-4B4D-9DCF-DAD81A5C73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3" name="Object 2" hidden="1">
                        <a:extLst>
                          <a:ext uri="{FF2B5EF4-FFF2-40B4-BE49-F238E27FC236}">
                            <a16:creationId xmlns:a16="http://schemas.microsoft.com/office/drawing/2014/main" id="{50388016-2041-4B4D-9DCF-DAD81A5C73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7" name="Oval 46">
            <a:extLst>
              <a:ext uri="{FF2B5EF4-FFF2-40B4-BE49-F238E27FC236}">
                <a16:creationId xmlns:a16="http://schemas.microsoft.com/office/drawing/2014/main" id="{E8F2F2D0-5F8B-42D6-815E-14DC8A1EFCC7}"/>
              </a:ext>
            </a:extLst>
          </p:cNvPr>
          <p:cNvSpPr/>
          <p:nvPr/>
        </p:nvSpPr>
        <p:spPr>
          <a:xfrm>
            <a:off x="9094928" y="5769876"/>
            <a:ext cx="2709664" cy="742678"/>
          </a:xfrm>
          <a:prstGeom prst="ellipse">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57575"/>
              </a:solidFill>
              <a:effectLst/>
              <a:uLnTx/>
              <a:uFillTx/>
              <a:latin typeface="Calibri" panose="020F0502020204030204"/>
              <a:ea typeface="+mn-ea"/>
              <a:cs typeface="+mn-cs"/>
            </a:endParaRPr>
          </a:p>
        </p:txBody>
      </p:sp>
      <p:sp>
        <p:nvSpPr>
          <p:cNvPr id="6" name="Title 5">
            <a:extLst>
              <a:ext uri="{FF2B5EF4-FFF2-40B4-BE49-F238E27FC236}">
                <a16:creationId xmlns:a16="http://schemas.microsoft.com/office/drawing/2014/main" id="{C2D6DCEE-5A45-49B1-A783-F1B1E674A4A7}"/>
              </a:ext>
            </a:extLst>
          </p:cNvPr>
          <p:cNvSpPr>
            <a:spLocks noGrp="1"/>
          </p:cNvSpPr>
          <p:nvPr>
            <p:ph type="title"/>
          </p:nvPr>
        </p:nvSpPr>
        <p:spPr>
          <a:xfrm>
            <a:off x="468000" y="188640"/>
            <a:ext cx="11358240" cy="590400"/>
          </a:xfrm>
          <a:prstGeom prst="rect">
            <a:avLst/>
          </a:prstGeom>
        </p:spPr>
        <p:txBody>
          <a:bodyPr vert="horz">
            <a:normAutofit/>
          </a:bodyPr>
          <a:lstStyle/>
          <a:p>
            <a:pPr lvl="0" algn="l">
              <a:lnSpc>
                <a:spcPct val="100000"/>
              </a:lnSpc>
              <a:spcBef>
                <a:spcPct val="20000"/>
              </a:spcBef>
              <a:defRPr/>
            </a:pPr>
            <a:r>
              <a:rPr lang="sl-SI" dirty="0">
                <a:solidFill>
                  <a:schemeClr val="accent1"/>
                </a:solidFill>
              </a:rPr>
              <a:t>3. Zaveza načelom OZN za odgovorno bančništvo</a:t>
            </a:r>
          </a:p>
        </p:txBody>
      </p:sp>
      <p:sp>
        <p:nvSpPr>
          <p:cNvPr id="7" name="Rectangle 6">
            <a:extLst>
              <a:ext uri="{FF2B5EF4-FFF2-40B4-BE49-F238E27FC236}">
                <a16:creationId xmlns:a16="http://schemas.microsoft.com/office/drawing/2014/main" id="{0D312AE1-D63F-4E75-9CE1-34D91D6A7372}"/>
              </a:ext>
            </a:extLst>
          </p:cNvPr>
          <p:cNvSpPr/>
          <p:nvPr/>
        </p:nvSpPr>
        <p:spPr>
          <a:xfrm>
            <a:off x="468000" y="647914"/>
            <a:ext cx="11511563" cy="262251"/>
          </a:xfrm>
          <a:prstGeom prst="rect">
            <a:avLst/>
          </a:prstGeom>
        </p:spPr>
        <p:txBody>
          <a:bodyPr wrap="square" lIns="91440" tIns="45720" rIns="91440" bIns="45720" anchor="t">
            <a:spAutoFit/>
          </a:bodyPr>
          <a:lstStyle/>
          <a:p>
            <a:pPr marL="171450" marR="0" lvl="0" indent="-171450" algn="l" defTabSz="914400" rtl="0" eaLnBrk="1" fontAlgn="auto" latinLnBrk="0" hangingPunct="1">
              <a:lnSpc>
                <a:spcPct val="92000"/>
              </a:lnSpc>
              <a:spcBef>
                <a:spcPts val="0"/>
              </a:spcBef>
              <a:spcAft>
                <a:spcPts val="0"/>
              </a:spcAft>
              <a:buClrTx/>
              <a:buSzTx/>
              <a:buFont typeface="Wingdings" panose="05000000000000000000" pitchFamily="2" charset="2"/>
              <a:buChar char="§"/>
              <a:tabLst/>
              <a:defRPr/>
            </a:pPr>
            <a:r>
              <a:rPr kumimoji="0" lang="en-AU" sz="12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NLB </a:t>
            </a:r>
            <a:r>
              <a:rPr kumimoji="0" lang="sl-SI" sz="12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Skupina je opredelila tri ključna vplivna področja in objavila štiri ključne cilje</a:t>
            </a:r>
            <a:r>
              <a:rPr lang="sl-SI" sz="1200" b="1" dirty="0">
                <a:solidFill>
                  <a:schemeClr val="tx1"/>
                </a:solidFill>
              </a:rPr>
              <a:t>.</a:t>
            </a:r>
            <a:endParaRPr kumimoji="0" lang="en-AU" sz="1200" b="1" i="0"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p:txBody>
      </p:sp>
      <p:pic>
        <p:nvPicPr>
          <p:cNvPr id="4" name="Picture 3">
            <a:extLst>
              <a:ext uri="{FF2B5EF4-FFF2-40B4-BE49-F238E27FC236}">
                <a16:creationId xmlns:a16="http://schemas.microsoft.com/office/drawing/2014/main" id="{7CC7D33B-5B08-17E9-BD81-01406FE49D8A}"/>
              </a:ext>
            </a:extLst>
          </p:cNvPr>
          <p:cNvPicPr>
            <a:picLocks noChangeAspect="1"/>
          </p:cNvPicPr>
          <p:nvPr/>
        </p:nvPicPr>
        <p:blipFill>
          <a:blip r:embed="rId6"/>
          <a:stretch>
            <a:fillRect/>
          </a:stretch>
        </p:blipFill>
        <p:spPr>
          <a:xfrm>
            <a:off x="551384" y="1070430"/>
            <a:ext cx="11269456" cy="4878850"/>
          </a:xfrm>
          <a:prstGeom prst="rect">
            <a:avLst/>
          </a:prstGeom>
        </p:spPr>
      </p:pic>
      <p:sp>
        <p:nvSpPr>
          <p:cNvPr id="2" name="Rectangle 1">
            <a:extLst>
              <a:ext uri="{FF2B5EF4-FFF2-40B4-BE49-F238E27FC236}">
                <a16:creationId xmlns:a16="http://schemas.microsoft.com/office/drawing/2014/main" id="{62BE898A-CB42-D089-A5E1-52FC1DED1B11}"/>
              </a:ext>
            </a:extLst>
          </p:cNvPr>
          <p:cNvSpPr/>
          <p:nvPr/>
        </p:nvSpPr>
        <p:spPr>
          <a:xfrm>
            <a:off x="1615256" y="5949280"/>
            <a:ext cx="952352" cy="4320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3576591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DD1A3E-2C79-48C5-B8FF-EC238922D17D}"/>
              </a:ext>
            </a:extLst>
          </p:cNvPr>
          <p:cNvSpPr>
            <a:spLocks noGrp="1"/>
          </p:cNvSpPr>
          <p:nvPr>
            <p:ph type="title"/>
          </p:nvPr>
        </p:nvSpPr>
        <p:spPr>
          <a:xfrm>
            <a:off x="529200" y="360000"/>
            <a:ext cx="11131200" cy="620728"/>
          </a:xfrm>
        </p:spPr>
        <p:txBody>
          <a:bodyPr>
            <a:normAutofit/>
          </a:bodyPr>
          <a:lstStyle/>
          <a:p>
            <a:pPr>
              <a:lnSpc>
                <a:spcPct val="100000"/>
              </a:lnSpc>
              <a:spcBef>
                <a:spcPct val="20000"/>
              </a:spcBef>
              <a:defRPr/>
            </a:pPr>
            <a:r>
              <a:rPr lang="sl-SI" sz="2800" dirty="0">
                <a:solidFill>
                  <a:schemeClr val="accent1"/>
                </a:solidFill>
              </a:rPr>
              <a:t>4. ZELENO (trajnostno) FINANCIRANJE</a:t>
            </a:r>
            <a:endParaRPr lang="en-US" sz="2800" dirty="0">
              <a:solidFill>
                <a:schemeClr val="accent1"/>
              </a:solidFill>
            </a:endParaRPr>
          </a:p>
        </p:txBody>
      </p:sp>
      <p:sp>
        <p:nvSpPr>
          <p:cNvPr id="5" name="Slide Number Placeholder 4">
            <a:extLst>
              <a:ext uri="{FF2B5EF4-FFF2-40B4-BE49-F238E27FC236}">
                <a16:creationId xmlns:a16="http://schemas.microsoft.com/office/drawing/2014/main" id="{4949E9F0-59C9-41F1-BA98-65C9F3932695}"/>
              </a:ext>
            </a:extLst>
          </p:cNvPr>
          <p:cNvSpPr>
            <a:spLocks noGrp="1"/>
          </p:cNvSpPr>
          <p:nvPr>
            <p:ph type="sldNum" sz="quarter" idx="4"/>
          </p:nvPr>
        </p:nvSpPr>
        <p:spPr/>
        <p:txBody>
          <a:bodyPr/>
          <a:lstStyle/>
          <a:p>
            <a:fld id="{4E4FABFB-D960-4827-A99E-1FF56FC4539E}" type="slidenum">
              <a:rPr lang="sl-SI" noProof="0" smtClean="0"/>
              <a:pPr/>
              <a:t>6</a:t>
            </a:fld>
            <a:endParaRPr lang="sl-SI" noProof="0" dirty="0"/>
          </a:p>
        </p:txBody>
      </p:sp>
      <p:sp>
        <p:nvSpPr>
          <p:cNvPr id="6" name="TextBox 5">
            <a:extLst>
              <a:ext uri="{FF2B5EF4-FFF2-40B4-BE49-F238E27FC236}">
                <a16:creationId xmlns:a16="http://schemas.microsoft.com/office/drawing/2014/main" id="{DC34078B-0C47-47AD-BFF3-96C116139D55}"/>
              </a:ext>
            </a:extLst>
          </p:cNvPr>
          <p:cNvSpPr txBox="1"/>
          <p:nvPr/>
        </p:nvSpPr>
        <p:spPr>
          <a:xfrm>
            <a:off x="529200" y="906554"/>
            <a:ext cx="10130688" cy="545406"/>
          </a:xfrm>
          <a:prstGeom prst="rect">
            <a:avLst/>
          </a:prstGeom>
          <a:noFill/>
        </p:spPr>
        <p:txBody>
          <a:bodyPr wrap="square">
            <a:spAutoFit/>
          </a:bodyPr>
          <a:lstStyle/>
          <a:p>
            <a:pPr marL="171450" indent="-171450">
              <a:lnSpc>
                <a:spcPct val="92000"/>
              </a:lnSpc>
              <a:buFont typeface="Wingdings" panose="05000000000000000000" pitchFamily="2" charset="2"/>
              <a:buChar char="§"/>
              <a:defRPr/>
            </a:pPr>
            <a:r>
              <a:rPr lang="sl-SI" sz="1600" b="1" dirty="0">
                <a:latin typeface="Arial" panose="020B0604020202020204" pitchFamily="34" charset="0"/>
                <a:cs typeface="Arial" panose="020B0604020202020204" pitchFamily="34" charset="0"/>
              </a:rPr>
              <a:t>Osrednji steber trajnostnih financ v EU je Taksonomija, ki opredeljuje </a:t>
            </a:r>
            <a:r>
              <a:rPr lang="sl-SI" sz="1600" b="1" dirty="0" err="1">
                <a:latin typeface="Arial" panose="020B0604020202020204" pitchFamily="34" charset="0"/>
                <a:cs typeface="Arial" panose="020B0604020202020204" pitchFamily="34" charset="0"/>
              </a:rPr>
              <a:t>okoljske</a:t>
            </a:r>
            <a:r>
              <a:rPr lang="sl-SI" sz="1600" b="1" dirty="0">
                <a:latin typeface="Arial" panose="020B0604020202020204" pitchFamily="34" charset="0"/>
                <a:cs typeface="Arial" panose="020B0604020202020204" pitchFamily="34" charset="0"/>
              </a:rPr>
              <a:t> trajnostne gospodarske dejavnosti, v povezavi z razkritji trajnostnih informacij</a:t>
            </a:r>
          </a:p>
        </p:txBody>
      </p:sp>
      <p:pic>
        <p:nvPicPr>
          <p:cNvPr id="4100" name="Picture 4" descr="Green Finance: Understanding Sustainable Finance Options">
            <a:extLst>
              <a:ext uri="{FF2B5EF4-FFF2-40B4-BE49-F238E27FC236}">
                <a16:creationId xmlns:a16="http://schemas.microsoft.com/office/drawing/2014/main" id="{254E68E0-DF97-4E21-91C9-F2DA0D074AC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55440" y="1844824"/>
            <a:ext cx="9783888" cy="3567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100441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Ograda številke diapozitiva 5">
            <a:extLst>
              <a:ext uri="{FF2B5EF4-FFF2-40B4-BE49-F238E27FC236}">
                <a16:creationId xmlns:a16="http://schemas.microsoft.com/office/drawing/2014/main" id="{CF099DB2-C87D-49F8-872F-886C769C2BED}"/>
              </a:ext>
            </a:extLst>
          </p:cNvPr>
          <p:cNvSpPr>
            <a:spLocks noGrp="1"/>
          </p:cNvSpPr>
          <p:nvPr>
            <p:ph type="sldNum" sz="quarter" idx="11"/>
          </p:nvPr>
        </p:nvSpPr>
        <p:spPr>
          <a:xfrm>
            <a:off x="8048625" y="5826125"/>
            <a:ext cx="2133600" cy="476250"/>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fld id="{81131A64-FDAA-4AE7-85F8-EF77E61D2C74}" type="slidenum">
              <a:rPr lang="sl-SI" altLang="sl-SI" sz="1400"/>
              <a:pPr>
                <a:spcBef>
                  <a:spcPct val="0"/>
                </a:spcBef>
                <a:buFontTx/>
                <a:buNone/>
              </a:pPr>
              <a:t>7</a:t>
            </a:fld>
            <a:endParaRPr lang="sl-SI" altLang="sl-SI" sz="1400"/>
          </a:p>
        </p:txBody>
      </p:sp>
      <p:sp>
        <p:nvSpPr>
          <p:cNvPr id="13320" name="PoljeZBesedilom 8">
            <a:extLst>
              <a:ext uri="{FF2B5EF4-FFF2-40B4-BE49-F238E27FC236}">
                <a16:creationId xmlns:a16="http://schemas.microsoft.com/office/drawing/2014/main" id="{3B198758-6AD7-4D0A-8146-C3FF2C194D31}"/>
              </a:ext>
            </a:extLst>
          </p:cNvPr>
          <p:cNvSpPr txBox="1">
            <a:spLocks noChangeArrowheads="1"/>
          </p:cNvSpPr>
          <p:nvPr/>
        </p:nvSpPr>
        <p:spPr bwMode="auto">
          <a:xfrm>
            <a:off x="1775520" y="3573016"/>
            <a:ext cx="9829650" cy="646331"/>
          </a:xfrm>
          <a:prstGeom prst="rect">
            <a:avLst/>
          </a:prstGeom>
          <a:solidFill>
            <a:srgbClr val="FFFFFF"/>
          </a:solidFill>
          <a:ln w="28575">
            <a:solidFill>
              <a:srgbClr val="7030A0"/>
            </a:solidFill>
            <a:miter lim="800000"/>
            <a:headEnd/>
            <a:tailEnd/>
          </a:ln>
        </p:spPr>
        <p:txBody>
          <a:bodyPr wrap="square">
            <a:spAutoFit/>
          </a:bodyPr>
          <a:lstStyle>
            <a:defPPr>
              <a:defRPr lang="sl-SI"/>
            </a:defPPr>
            <a:lvl1pPr>
              <a:spcBef>
                <a:spcPct val="0"/>
              </a:spcBef>
              <a:buFontTx/>
              <a:buNone/>
              <a:defRPr>
                <a:latin typeface="Trebuchet MS" panose="020B0603020202020204" pitchFamily="34" charset="0"/>
              </a:defRPr>
            </a:lvl1pPr>
            <a:lvl2pPr marL="742950" indent="-285750">
              <a:spcBef>
                <a:spcPct val="20000"/>
              </a:spcBef>
              <a:buChar char="–"/>
              <a:defRPr sz="2800">
                <a:latin typeface="Arial" panose="020B0604020202020204" pitchFamily="34" charset="0"/>
              </a:defRPr>
            </a:lvl2pPr>
            <a:lvl3pPr marL="1143000" indent="-228600">
              <a:spcBef>
                <a:spcPct val="20000"/>
              </a:spcBef>
              <a:buChar char="•"/>
              <a:defRPr sz="2400">
                <a:latin typeface="Arial" panose="020B0604020202020204" pitchFamily="34" charset="0"/>
              </a:defRPr>
            </a:lvl3pPr>
            <a:lvl4pPr marL="1600200" indent="-228600">
              <a:spcBef>
                <a:spcPct val="20000"/>
              </a:spcBef>
              <a:buChar char="–"/>
              <a:defRPr sz="2000">
                <a:latin typeface="Arial" panose="020B0604020202020204" pitchFamily="34" charset="0"/>
              </a:defRPr>
            </a:lvl4pPr>
            <a:lvl5pPr marL="2057400" indent="-228600">
              <a:spcBef>
                <a:spcPct val="20000"/>
              </a:spcBef>
              <a:buChar char="»"/>
              <a:defRPr sz="2000">
                <a:latin typeface="Arial" panose="020B0604020202020204" pitchFamily="34" charset="0"/>
              </a:defRPr>
            </a:lvl5pPr>
            <a:lvl6pPr marL="2514600" indent="-228600" eaLnBrk="0" fontAlgn="base" hangingPunct="0">
              <a:spcBef>
                <a:spcPct val="20000"/>
              </a:spcBef>
              <a:spcAft>
                <a:spcPct val="0"/>
              </a:spcAft>
              <a:buChar char="»"/>
              <a:defRPr sz="2000">
                <a:latin typeface="Arial" panose="020B0604020202020204" pitchFamily="34" charset="0"/>
              </a:defRPr>
            </a:lvl6pPr>
            <a:lvl7pPr marL="2971800" indent="-228600" eaLnBrk="0" fontAlgn="base" hangingPunct="0">
              <a:spcBef>
                <a:spcPct val="20000"/>
              </a:spcBef>
              <a:spcAft>
                <a:spcPct val="0"/>
              </a:spcAft>
              <a:buChar char="»"/>
              <a:defRPr sz="2000">
                <a:latin typeface="Arial" panose="020B0604020202020204" pitchFamily="34" charset="0"/>
              </a:defRPr>
            </a:lvl7pPr>
            <a:lvl8pPr marL="3429000" indent="-228600" eaLnBrk="0" fontAlgn="base" hangingPunct="0">
              <a:spcBef>
                <a:spcPct val="20000"/>
              </a:spcBef>
              <a:spcAft>
                <a:spcPct val="0"/>
              </a:spcAft>
              <a:buChar char="»"/>
              <a:defRPr sz="2000">
                <a:latin typeface="Arial" panose="020B0604020202020204" pitchFamily="34" charset="0"/>
              </a:defRPr>
            </a:lvl8pPr>
            <a:lvl9pPr marL="3886200" indent="-228600" eaLnBrk="0" fontAlgn="base" hangingPunct="0">
              <a:spcBef>
                <a:spcPct val="20000"/>
              </a:spcBef>
              <a:spcAft>
                <a:spcPct val="0"/>
              </a:spcAft>
              <a:buChar char="»"/>
              <a:defRPr sz="2000">
                <a:latin typeface="Arial" panose="020B0604020202020204" pitchFamily="34" charset="0"/>
              </a:defRPr>
            </a:lvl9pPr>
          </a:lstStyle>
          <a:p>
            <a:r>
              <a:rPr lang="sl-SI" altLang="sl-SI" dirty="0"/>
              <a:t>S taksonomijo EU se zagotavlja jasna navodila podjetjem in vlagateljem za razvoj gospodarstva, ki bo skladen z zastavljenimi evropskimi podnebnimi cilji do leta 2030 in 2050.</a:t>
            </a:r>
          </a:p>
        </p:txBody>
      </p:sp>
      <p:sp>
        <p:nvSpPr>
          <p:cNvPr id="13321" name="PoljeZBesedilom 9">
            <a:extLst>
              <a:ext uri="{FF2B5EF4-FFF2-40B4-BE49-F238E27FC236}">
                <a16:creationId xmlns:a16="http://schemas.microsoft.com/office/drawing/2014/main" id="{31EA96E5-5D62-4D4A-A1BE-4A3BBBB9DF10}"/>
              </a:ext>
            </a:extLst>
          </p:cNvPr>
          <p:cNvSpPr txBox="1">
            <a:spLocks noChangeArrowheads="1"/>
          </p:cNvSpPr>
          <p:nvPr/>
        </p:nvSpPr>
        <p:spPr bwMode="auto">
          <a:xfrm>
            <a:off x="476819" y="1578481"/>
            <a:ext cx="2208212"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14313" indent="-214313">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pPr>
            <a:r>
              <a:rPr lang="sl-SI" altLang="sl-SI" sz="1800" dirty="0">
                <a:latin typeface="Trebuchet MS" panose="020B0603020202020204" pitchFamily="34" charset="0"/>
              </a:rPr>
              <a:t>6 </a:t>
            </a:r>
            <a:r>
              <a:rPr lang="sl-SI" altLang="sl-SI" sz="1800" dirty="0" err="1">
                <a:latin typeface="Trebuchet MS" panose="020B0603020202020204" pitchFamily="34" charset="0"/>
              </a:rPr>
              <a:t>okoljskih</a:t>
            </a:r>
            <a:r>
              <a:rPr lang="sl-SI" altLang="sl-SI" sz="1800" dirty="0">
                <a:latin typeface="Trebuchet MS" panose="020B0603020202020204" pitchFamily="34" charset="0"/>
              </a:rPr>
              <a:t> ciljev</a:t>
            </a:r>
            <a:endParaRPr lang="sl-SI" altLang="sl-SI" sz="1800" dirty="0"/>
          </a:p>
        </p:txBody>
      </p:sp>
      <p:pic>
        <p:nvPicPr>
          <p:cNvPr id="13322" name="Slika 10">
            <a:extLst>
              <a:ext uri="{FF2B5EF4-FFF2-40B4-BE49-F238E27FC236}">
                <a16:creationId xmlns:a16="http://schemas.microsoft.com/office/drawing/2014/main" id="{3E5B0C99-BC17-4CF7-98F5-B49920FB180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55640" y="1394077"/>
            <a:ext cx="6584950" cy="1001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Pravokotnik 11">
            <a:extLst>
              <a:ext uri="{FF2B5EF4-FFF2-40B4-BE49-F238E27FC236}">
                <a16:creationId xmlns:a16="http://schemas.microsoft.com/office/drawing/2014/main" id="{6D5F7416-E924-4658-823B-2F2A6E82FE77}"/>
              </a:ext>
            </a:extLst>
          </p:cNvPr>
          <p:cNvSpPr/>
          <p:nvPr/>
        </p:nvSpPr>
        <p:spPr>
          <a:xfrm>
            <a:off x="2855640" y="1335339"/>
            <a:ext cx="2208212" cy="1001712"/>
          </a:xfrm>
          <a:prstGeom prst="rect">
            <a:avLst/>
          </a:prstGeom>
          <a:noFill/>
          <a:ln>
            <a:solidFill>
              <a:srgbClr val="08A59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l-SI">
              <a:solidFill>
                <a:schemeClr val="tx1"/>
              </a:solidFill>
            </a:endParaRPr>
          </a:p>
        </p:txBody>
      </p:sp>
      <p:sp>
        <p:nvSpPr>
          <p:cNvPr id="13324" name="PoljeZBesedilom 12">
            <a:extLst>
              <a:ext uri="{FF2B5EF4-FFF2-40B4-BE49-F238E27FC236}">
                <a16:creationId xmlns:a16="http://schemas.microsoft.com/office/drawing/2014/main" id="{A53F202A-5302-45DD-9E40-0C90DBB5638F}"/>
              </a:ext>
            </a:extLst>
          </p:cNvPr>
          <p:cNvSpPr txBox="1">
            <a:spLocks noChangeArrowheads="1"/>
          </p:cNvSpPr>
          <p:nvPr/>
        </p:nvSpPr>
        <p:spPr bwMode="auto">
          <a:xfrm>
            <a:off x="1775520" y="3140968"/>
            <a:ext cx="9848586" cy="369332"/>
          </a:xfrm>
          <a:prstGeom prst="rect">
            <a:avLst/>
          </a:prstGeom>
          <a:solidFill>
            <a:srgbClr val="FFFFFF"/>
          </a:solidFill>
          <a:ln w="28575">
            <a:solidFill>
              <a:schemeClr val="accent1"/>
            </a:solidFill>
            <a:miter lim="800000"/>
            <a:headEnd/>
            <a:tailEnd/>
          </a:ln>
        </p:spPr>
        <p:txBody>
          <a:bodyPr wrap="square">
            <a:spAutoFit/>
          </a:bodyPr>
          <a:lstStyle>
            <a:defPPr>
              <a:defRPr lang="sl-SI"/>
            </a:defPPr>
            <a:lvl1pPr>
              <a:spcBef>
                <a:spcPct val="0"/>
              </a:spcBef>
              <a:buFontTx/>
              <a:buNone/>
              <a:defRPr>
                <a:latin typeface="Trebuchet MS" panose="020B0603020202020204" pitchFamily="34" charset="0"/>
              </a:defRPr>
            </a:lvl1pPr>
            <a:lvl2pPr marL="742950" indent="-285750">
              <a:spcBef>
                <a:spcPct val="20000"/>
              </a:spcBef>
              <a:buChar char="–"/>
              <a:defRPr sz="2800">
                <a:latin typeface="Arial" panose="020B0604020202020204" pitchFamily="34" charset="0"/>
              </a:defRPr>
            </a:lvl2pPr>
            <a:lvl3pPr marL="1143000" indent="-228600">
              <a:spcBef>
                <a:spcPct val="20000"/>
              </a:spcBef>
              <a:buChar char="•"/>
              <a:defRPr sz="2400">
                <a:latin typeface="Arial" panose="020B0604020202020204" pitchFamily="34" charset="0"/>
              </a:defRPr>
            </a:lvl3pPr>
            <a:lvl4pPr marL="1600200" indent="-228600">
              <a:spcBef>
                <a:spcPct val="20000"/>
              </a:spcBef>
              <a:buChar char="–"/>
              <a:defRPr sz="2000">
                <a:latin typeface="Arial" panose="020B0604020202020204" pitchFamily="34" charset="0"/>
              </a:defRPr>
            </a:lvl4pPr>
            <a:lvl5pPr marL="2057400" indent="-228600">
              <a:spcBef>
                <a:spcPct val="20000"/>
              </a:spcBef>
              <a:buChar char="»"/>
              <a:defRPr sz="2000">
                <a:latin typeface="Arial" panose="020B0604020202020204" pitchFamily="34" charset="0"/>
              </a:defRPr>
            </a:lvl5pPr>
            <a:lvl6pPr marL="2514600" indent="-228600" eaLnBrk="0" fontAlgn="base" hangingPunct="0">
              <a:spcBef>
                <a:spcPct val="20000"/>
              </a:spcBef>
              <a:spcAft>
                <a:spcPct val="0"/>
              </a:spcAft>
              <a:buChar char="»"/>
              <a:defRPr sz="2000">
                <a:latin typeface="Arial" panose="020B0604020202020204" pitchFamily="34" charset="0"/>
              </a:defRPr>
            </a:lvl6pPr>
            <a:lvl7pPr marL="2971800" indent="-228600" eaLnBrk="0" fontAlgn="base" hangingPunct="0">
              <a:spcBef>
                <a:spcPct val="20000"/>
              </a:spcBef>
              <a:spcAft>
                <a:spcPct val="0"/>
              </a:spcAft>
              <a:buChar char="»"/>
              <a:defRPr sz="2000">
                <a:latin typeface="Arial" panose="020B0604020202020204" pitchFamily="34" charset="0"/>
              </a:defRPr>
            </a:lvl7pPr>
            <a:lvl8pPr marL="3429000" indent="-228600" eaLnBrk="0" fontAlgn="base" hangingPunct="0">
              <a:spcBef>
                <a:spcPct val="20000"/>
              </a:spcBef>
              <a:spcAft>
                <a:spcPct val="0"/>
              </a:spcAft>
              <a:buChar char="»"/>
              <a:defRPr sz="2000">
                <a:latin typeface="Arial" panose="020B0604020202020204" pitchFamily="34" charset="0"/>
              </a:defRPr>
            </a:lvl8pPr>
            <a:lvl9pPr marL="3886200" indent="-228600" eaLnBrk="0" fontAlgn="base" hangingPunct="0">
              <a:spcBef>
                <a:spcPct val="20000"/>
              </a:spcBef>
              <a:spcAft>
                <a:spcPct val="0"/>
              </a:spcAft>
              <a:buChar char="»"/>
              <a:defRPr sz="2000">
                <a:latin typeface="Arial" panose="020B0604020202020204" pitchFamily="34" charset="0"/>
              </a:defRPr>
            </a:lvl9pPr>
          </a:lstStyle>
          <a:p>
            <a:r>
              <a:rPr lang="sl-SI" altLang="sl-SI"/>
              <a:t>Spodbujala bo rast nizkoogljičnih sektorjev in dekarbonizacijo sektorjev z visokimi emisijami.</a:t>
            </a:r>
          </a:p>
        </p:txBody>
      </p:sp>
      <p:sp>
        <p:nvSpPr>
          <p:cNvPr id="13325" name="PoljeZBesedilom 13">
            <a:extLst>
              <a:ext uri="{FF2B5EF4-FFF2-40B4-BE49-F238E27FC236}">
                <a16:creationId xmlns:a16="http://schemas.microsoft.com/office/drawing/2014/main" id="{E9F88181-21BA-4CEE-A176-42523636625F}"/>
              </a:ext>
            </a:extLst>
          </p:cNvPr>
          <p:cNvSpPr txBox="1">
            <a:spLocks noChangeArrowheads="1"/>
          </p:cNvSpPr>
          <p:nvPr/>
        </p:nvSpPr>
        <p:spPr bwMode="auto">
          <a:xfrm>
            <a:off x="1784981" y="4313237"/>
            <a:ext cx="9810728" cy="923925"/>
          </a:xfrm>
          <a:prstGeom prst="rect">
            <a:avLst/>
          </a:prstGeom>
          <a:solidFill>
            <a:srgbClr val="FFFFFF"/>
          </a:solidFill>
          <a:ln w="28575">
            <a:solidFill>
              <a:schemeClr val="accent1"/>
            </a:solidFill>
            <a:miter lim="800000"/>
            <a:headEnd/>
            <a:tailEnd/>
          </a:ln>
        </p:spPr>
        <p:txBody>
          <a:bodyPr wrap="square">
            <a:spAutoFit/>
          </a:bodyPr>
          <a:lstStyle>
            <a:defPPr>
              <a:defRPr lang="sl-SI"/>
            </a:defPPr>
            <a:lvl1pPr>
              <a:spcBef>
                <a:spcPct val="0"/>
              </a:spcBef>
              <a:buFontTx/>
              <a:buNone/>
              <a:defRPr>
                <a:latin typeface="Trebuchet MS" panose="020B0603020202020204" pitchFamily="34" charset="0"/>
              </a:defRPr>
            </a:lvl1pPr>
            <a:lvl2pPr marL="742950" indent="-285750">
              <a:spcBef>
                <a:spcPct val="20000"/>
              </a:spcBef>
              <a:buChar char="–"/>
              <a:defRPr sz="2800">
                <a:latin typeface="Arial" panose="020B0604020202020204" pitchFamily="34" charset="0"/>
              </a:defRPr>
            </a:lvl2pPr>
            <a:lvl3pPr marL="1143000" indent="-228600">
              <a:spcBef>
                <a:spcPct val="20000"/>
              </a:spcBef>
              <a:buChar char="•"/>
              <a:defRPr sz="2400">
                <a:latin typeface="Arial" panose="020B0604020202020204" pitchFamily="34" charset="0"/>
              </a:defRPr>
            </a:lvl3pPr>
            <a:lvl4pPr marL="1600200" indent="-228600">
              <a:spcBef>
                <a:spcPct val="20000"/>
              </a:spcBef>
              <a:buChar char="–"/>
              <a:defRPr sz="2000">
                <a:latin typeface="Arial" panose="020B0604020202020204" pitchFamily="34" charset="0"/>
              </a:defRPr>
            </a:lvl4pPr>
            <a:lvl5pPr marL="2057400" indent="-228600">
              <a:spcBef>
                <a:spcPct val="20000"/>
              </a:spcBef>
              <a:buChar char="»"/>
              <a:defRPr sz="2000">
                <a:latin typeface="Arial" panose="020B0604020202020204" pitchFamily="34" charset="0"/>
              </a:defRPr>
            </a:lvl5pPr>
            <a:lvl6pPr marL="2514600" indent="-228600" eaLnBrk="0" fontAlgn="base" hangingPunct="0">
              <a:spcBef>
                <a:spcPct val="20000"/>
              </a:spcBef>
              <a:spcAft>
                <a:spcPct val="0"/>
              </a:spcAft>
              <a:buChar char="»"/>
              <a:defRPr sz="2000">
                <a:latin typeface="Arial" panose="020B0604020202020204" pitchFamily="34" charset="0"/>
              </a:defRPr>
            </a:lvl6pPr>
            <a:lvl7pPr marL="2971800" indent="-228600" eaLnBrk="0" fontAlgn="base" hangingPunct="0">
              <a:spcBef>
                <a:spcPct val="20000"/>
              </a:spcBef>
              <a:spcAft>
                <a:spcPct val="0"/>
              </a:spcAft>
              <a:buChar char="»"/>
              <a:defRPr sz="2000">
                <a:latin typeface="Arial" panose="020B0604020202020204" pitchFamily="34" charset="0"/>
              </a:defRPr>
            </a:lvl7pPr>
            <a:lvl8pPr marL="3429000" indent="-228600" eaLnBrk="0" fontAlgn="base" hangingPunct="0">
              <a:spcBef>
                <a:spcPct val="20000"/>
              </a:spcBef>
              <a:spcAft>
                <a:spcPct val="0"/>
              </a:spcAft>
              <a:buChar char="»"/>
              <a:defRPr sz="2000">
                <a:latin typeface="Arial" panose="020B0604020202020204" pitchFamily="34" charset="0"/>
              </a:defRPr>
            </a:lvl8pPr>
            <a:lvl9pPr marL="3886200" indent="-228600" eaLnBrk="0" fontAlgn="base" hangingPunct="0">
              <a:spcBef>
                <a:spcPct val="20000"/>
              </a:spcBef>
              <a:spcAft>
                <a:spcPct val="0"/>
              </a:spcAft>
              <a:buChar char="»"/>
              <a:defRPr sz="2000">
                <a:latin typeface="Arial" panose="020B0604020202020204" pitchFamily="34" charset="0"/>
              </a:defRPr>
            </a:lvl9pPr>
          </a:lstStyle>
          <a:p>
            <a:r>
              <a:rPr lang="sl-SI" altLang="sl-SI"/>
              <a:t>Ker prehod na podnebno nevtralno gospodarstvo zahteva jasna orodja in smernice, bo taksonomija zrcalila tudi znanstveno podprte dokaze, da bi vlila zaupanje zasebnim in javnim ustanovam ob njihovem ukrepanju. </a:t>
            </a:r>
          </a:p>
        </p:txBody>
      </p:sp>
      <p:sp>
        <p:nvSpPr>
          <p:cNvPr id="13327" name="PoljeZBesedilom 15">
            <a:extLst>
              <a:ext uri="{FF2B5EF4-FFF2-40B4-BE49-F238E27FC236}">
                <a16:creationId xmlns:a16="http://schemas.microsoft.com/office/drawing/2014/main" id="{CF2521E3-5B90-4763-98D3-975A553F1C6A}"/>
              </a:ext>
            </a:extLst>
          </p:cNvPr>
          <p:cNvSpPr txBox="1">
            <a:spLocks noChangeArrowheads="1"/>
          </p:cNvSpPr>
          <p:nvPr/>
        </p:nvSpPr>
        <p:spPr bwMode="auto">
          <a:xfrm>
            <a:off x="1775520" y="2430460"/>
            <a:ext cx="9848586" cy="646113"/>
          </a:xfrm>
          <a:prstGeom prst="rect">
            <a:avLst/>
          </a:prstGeom>
          <a:solidFill>
            <a:srgbClr val="FFFFFF"/>
          </a:solidFill>
          <a:ln w="28575">
            <a:solidFill>
              <a:schemeClr val="accent1"/>
            </a:solidFill>
            <a:miter lim="800000"/>
            <a:headEnd/>
            <a:tailEnd/>
          </a:ln>
        </p:spPr>
        <p:txBody>
          <a:bodyPr wrap="squar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r>
              <a:rPr lang="sl-SI" altLang="sl-SI" sz="1800" dirty="0">
                <a:latin typeface="Trebuchet MS" panose="020B0603020202020204" pitchFamily="34" charset="0"/>
              </a:rPr>
              <a:t>Taksonomija je uredba, ki je  začela veljati julija 2020. Zahteve za razkritja pa so pričela veljati 1.1.2022. </a:t>
            </a:r>
          </a:p>
        </p:txBody>
      </p:sp>
      <p:sp>
        <p:nvSpPr>
          <p:cNvPr id="13328" name="PoljeZBesedilom 16">
            <a:extLst>
              <a:ext uri="{FF2B5EF4-FFF2-40B4-BE49-F238E27FC236}">
                <a16:creationId xmlns:a16="http://schemas.microsoft.com/office/drawing/2014/main" id="{1B70DAB5-804F-41EE-A368-3A4D6E277DE1}"/>
              </a:ext>
            </a:extLst>
          </p:cNvPr>
          <p:cNvSpPr txBox="1">
            <a:spLocks noChangeArrowheads="1"/>
          </p:cNvSpPr>
          <p:nvPr/>
        </p:nvSpPr>
        <p:spPr bwMode="auto">
          <a:xfrm>
            <a:off x="741137" y="3140968"/>
            <a:ext cx="839787" cy="369887"/>
          </a:xfrm>
          <a:prstGeom prst="rect">
            <a:avLst/>
          </a:prstGeom>
          <a:solidFill>
            <a:srgbClr val="FFFFFF"/>
          </a:solidFill>
          <a:ln w="28575">
            <a:solidFill>
              <a:schemeClr val="accent1"/>
            </a:solidFill>
            <a:miter lim="800000"/>
            <a:headEnd/>
            <a:tailEnd/>
          </a:ln>
        </p:spPr>
        <p:txBody>
          <a:bodyPr wrap="square">
            <a:spAutoFit/>
          </a:bodyPr>
          <a:lstStyle>
            <a:defPPr>
              <a:defRPr lang="sl-SI"/>
            </a:defPPr>
            <a:lvl1pPr>
              <a:spcBef>
                <a:spcPct val="0"/>
              </a:spcBef>
              <a:buFontTx/>
              <a:buNone/>
              <a:defRPr>
                <a:latin typeface="Trebuchet MS" panose="020B0603020202020204" pitchFamily="34" charset="0"/>
              </a:defRPr>
            </a:lvl1pPr>
            <a:lvl2pPr marL="742950" indent="-285750">
              <a:spcBef>
                <a:spcPct val="20000"/>
              </a:spcBef>
              <a:buChar char="–"/>
              <a:defRPr sz="2800">
                <a:latin typeface="Arial" panose="020B0604020202020204" pitchFamily="34" charset="0"/>
              </a:defRPr>
            </a:lvl2pPr>
            <a:lvl3pPr marL="1143000" indent="-228600">
              <a:spcBef>
                <a:spcPct val="20000"/>
              </a:spcBef>
              <a:buChar char="•"/>
              <a:defRPr sz="2400">
                <a:latin typeface="Arial" panose="020B0604020202020204" pitchFamily="34" charset="0"/>
              </a:defRPr>
            </a:lvl3pPr>
            <a:lvl4pPr marL="1600200" indent="-228600">
              <a:spcBef>
                <a:spcPct val="20000"/>
              </a:spcBef>
              <a:buChar char="–"/>
              <a:defRPr sz="2000">
                <a:latin typeface="Arial" panose="020B0604020202020204" pitchFamily="34" charset="0"/>
              </a:defRPr>
            </a:lvl4pPr>
            <a:lvl5pPr marL="2057400" indent="-228600">
              <a:spcBef>
                <a:spcPct val="20000"/>
              </a:spcBef>
              <a:buChar char="»"/>
              <a:defRPr sz="2000">
                <a:latin typeface="Arial" panose="020B0604020202020204" pitchFamily="34" charset="0"/>
              </a:defRPr>
            </a:lvl5pPr>
            <a:lvl6pPr marL="2514600" indent="-228600" eaLnBrk="0" fontAlgn="base" hangingPunct="0">
              <a:spcBef>
                <a:spcPct val="20000"/>
              </a:spcBef>
              <a:spcAft>
                <a:spcPct val="0"/>
              </a:spcAft>
              <a:buChar char="»"/>
              <a:defRPr sz="2000">
                <a:latin typeface="Arial" panose="020B0604020202020204" pitchFamily="34" charset="0"/>
              </a:defRPr>
            </a:lvl6pPr>
            <a:lvl7pPr marL="2971800" indent="-228600" eaLnBrk="0" fontAlgn="base" hangingPunct="0">
              <a:spcBef>
                <a:spcPct val="20000"/>
              </a:spcBef>
              <a:spcAft>
                <a:spcPct val="0"/>
              </a:spcAft>
              <a:buChar char="»"/>
              <a:defRPr sz="2000">
                <a:latin typeface="Arial" panose="020B0604020202020204" pitchFamily="34" charset="0"/>
              </a:defRPr>
            </a:lvl7pPr>
            <a:lvl8pPr marL="3429000" indent="-228600" eaLnBrk="0" fontAlgn="base" hangingPunct="0">
              <a:spcBef>
                <a:spcPct val="20000"/>
              </a:spcBef>
              <a:spcAft>
                <a:spcPct val="0"/>
              </a:spcAft>
              <a:buChar char="»"/>
              <a:defRPr sz="2000">
                <a:latin typeface="Arial" panose="020B0604020202020204" pitchFamily="34" charset="0"/>
              </a:defRPr>
            </a:lvl8pPr>
            <a:lvl9pPr marL="3886200" indent="-228600" eaLnBrk="0" fontAlgn="base" hangingPunct="0">
              <a:spcBef>
                <a:spcPct val="20000"/>
              </a:spcBef>
              <a:spcAft>
                <a:spcPct val="0"/>
              </a:spcAft>
              <a:buChar char="»"/>
              <a:defRPr sz="2000">
                <a:latin typeface="Arial" panose="020B0604020202020204" pitchFamily="34" charset="0"/>
              </a:defRPr>
            </a:lvl9pPr>
          </a:lstStyle>
          <a:p>
            <a:r>
              <a:rPr lang="sl-SI" altLang="sl-SI"/>
              <a:t>ZAKAJ</a:t>
            </a:r>
          </a:p>
        </p:txBody>
      </p:sp>
      <p:sp>
        <p:nvSpPr>
          <p:cNvPr id="13330" name="PoljeZBesedilom 18">
            <a:extLst>
              <a:ext uri="{FF2B5EF4-FFF2-40B4-BE49-F238E27FC236}">
                <a16:creationId xmlns:a16="http://schemas.microsoft.com/office/drawing/2014/main" id="{90198CA4-D81E-4A1F-B6AF-ADEAB3ACDF60}"/>
              </a:ext>
            </a:extLst>
          </p:cNvPr>
          <p:cNvSpPr txBox="1">
            <a:spLocks noChangeArrowheads="1"/>
          </p:cNvSpPr>
          <p:nvPr/>
        </p:nvSpPr>
        <p:spPr bwMode="auto">
          <a:xfrm>
            <a:off x="741137" y="2430460"/>
            <a:ext cx="839787" cy="369887"/>
          </a:xfrm>
          <a:prstGeom prst="rect">
            <a:avLst/>
          </a:prstGeom>
          <a:solidFill>
            <a:srgbClr val="FFFFFF"/>
          </a:solidFill>
          <a:ln w="28575">
            <a:solidFill>
              <a:schemeClr val="accent1"/>
            </a:solidFill>
            <a:miter lim="800000"/>
            <a:headEnd/>
            <a:tailEnd/>
          </a:ln>
        </p:spPr>
        <p:txBody>
          <a:bodyPr wrap="square">
            <a:spAutoFit/>
          </a:bodyPr>
          <a:lstStyle>
            <a:defPPr>
              <a:defRPr lang="sl-SI"/>
            </a:defPPr>
            <a:lvl1pPr>
              <a:spcBef>
                <a:spcPct val="0"/>
              </a:spcBef>
              <a:buFontTx/>
              <a:buNone/>
              <a:defRPr>
                <a:latin typeface="Trebuchet MS" panose="020B0603020202020204" pitchFamily="34" charset="0"/>
              </a:defRPr>
            </a:lvl1pPr>
            <a:lvl2pPr marL="742950" indent="-285750">
              <a:spcBef>
                <a:spcPct val="20000"/>
              </a:spcBef>
              <a:buChar char="–"/>
              <a:defRPr sz="2800">
                <a:latin typeface="Arial" panose="020B0604020202020204" pitchFamily="34" charset="0"/>
              </a:defRPr>
            </a:lvl2pPr>
            <a:lvl3pPr marL="1143000" indent="-228600">
              <a:spcBef>
                <a:spcPct val="20000"/>
              </a:spcBef>
              <a:buChar char="•"/>
              <a:defRPr sz="2400">
                <a:latin typeface="Arial" panose="020B0604020202020204" pitchFamily="34" charset="0"/>
              </a:defRPr>
            </a:lvl3pPr>
            <a:lvl4pPr marL="1600200" indent="-228600">
              <a:spcBef>
                <a:spcPct val="20000"/>
              </a:spcBef>
              <a:buChar char="–"/>
              <a:defRPr sz="2000">
                <a:latin typeface="Arial" panose="020B0604020202020204" pitchFamily="34" charset="0"/>
              </a:defRPr>
            </a:lvl4pPr>
            <a:lvl5pPr marL="2057400" indent="-228600">
              <a:spcBef>
                <a:spcPct val="20000"/>
              </a:spcBef>
              <a:buChar char="»"/>
              <a:defRPr sz="2000">
                <a:latin typeface="Arial" panose="020B0604020202020204" pitchFamily="34" charset="0"/>
              </a:defRPr>
            </a:lvl5pPr>
            <a:lvl6pPr marL="2514600" indent="-228600" eaLnBrk="0" fontAlgn="base" hangingPunct="0">
              <a:spcBef>
                <a:spcPct val="20000"/>
              </a:spcBef>
              <a:spcAft>
                <a:spcPct val="0"/>
              </a:spcAft>
              <a:buChar char="»"/>
              <a:defRPr sz="2000">
                <a:latin typeface="Arial" panose="020B0604020202020204" pitchFamily="34" charset="0"/>
              </a:defRPr>
            </a:lvl6pPr>
            <a:lvl7pPr marL="2971800" indent="-228600" eaLnBrk="0" fontAlgn="base" hangingPunct="0">
              <a:spcBef>
                <a:spcPct val="20000"/>
              </a:spcBef>
              <a:spcAft>
                <a:spcPct val="0"/>
              </a:spcAft>
              <a:buChar char="»"/>
              <a:defRPr sz="2000">
                <a:latin typeface="Arial" panose="020B0604020202020204" pitchFamily="34" charset="0"/>
              </a:defRPr>
            </a:lvl7pPr>
            <a:lvl8pPr marL="3429000" indent="-228600" eaLnBrk="0" fontAlgn="base" hangingPunct="0">
              <a:spcBef>
                <a:spcPct val="20000"/>
              </a:spcBef>
              <a:spcAft>
                <a:spcPct val="0"/>
              </a:spcAft>
              <a:buChar char="»"/>
              <a:defRPr sz="2000">
                <a:latin typeface="Arial" panose="020B0604020202020204" pitchFamily="34" charset="0"/>
              </a:defRPr>
            </a:lvl8pPr>
            <a:lvl9pPr marL="3886200" indent="-228600" eaLnBrk="0" fontAlgn="base" hangingPunct="0">
              <a:spcBef>
                <a:spcPct val="20000"/>
              </a:spcBef>
              <a:spcAft>
                <a:spcPct val="0"/>
              </a:spcAft>
              <a:buChar char="»"/>
              <a:defRPr sz="2000">
                <a:latin typeface="Arial" panose="020B0604020202020204" pitchFamily="34" charset="0"/>
              </a:defRPr>
            </a:lvl9pPr>
          </a:lstStyle>
          <a:p>
            <a:r>
              <a:rPr lang="sl-SI" altLang="sl-SI"/>
              <a:t>KDAJ</a:t>
            </a:r>
          </a:p>
        </p:txBody>
      </p:sp>
      <p:sp>
        <p:nvSpPr>
          <p:cNvPr id="13331" name="PoljeZBesedilom 19">
            <a:extLst>
              <a:ext uri="{FF2B5EF4-FFF2-40B4-BE49-F238E27FC236}">
                <a16:creationId xmlns:a16="http://schemas.microsoft.com/office/drawing/2014/main" id="{932F963A-0EB4-4DBB-92A4-3D23FFB0DFEF}"/>
              </a:ext>
            </a:extLst>
          </p:cNvPr>
          <p:cNvSpPr txBox="1">
            <a:spLocks noChangeArrowheads="1"/>
          </p:cNvSpPr>
          <p:nvPr/>
        </p:nvSpPr>
        <p:spPr bwMode="auto">
          <a:xfrm>
            <a:off x="1788460" y="5331052"/>
            <a:ext cx="9835646" cy="646113"/>
          </a:xfrm>
          <a:prstGeom prst="rect">
            <a:avLst/>
          </a:prstGeom>
          <a:solidFill>
            <a:srgbClr val="FFFFFF"/>
          </a:solidFill>
          <a:ln w="28575">
            <a:solidFill>
              <a:schemeClr val="accent1"/>
            </a:solidFill>
            <a:miter lim="800000"/>
            <a:headEnd/>
            <a:tailEnd/>
          </a:ln>
        </p:spPr>
        <p:txBody>
          <a:bodyPr wrap="square">
            <a:spAutoFit/>
          </a:bodyPr>
          <a:lstStyle>
            <a:defPPr>
              <a:defRPr lang="sl-SI"/>
            </a:defPPr>
            <a:lvl1pPr>
              <a:spcBef>
                <a:spcPct val="0"/>
              </a:spcBef>
              <a:buFontTx/>
              <a:buNone/>
              <a:defRPr>
                <a:latin typeface="Trebuchet MS" panose="020B0603020202020204" pitchFamily="34" charset="0"/>
              </a:defRPr>
            </a:lvl1pPr>
            <a:lvl2pPr marL="742950" indent="-285750">
              <a:spcBef>
                <a:spcPct val="20000"/>
              </a:spcBef>
              <a:buChar char="–"/>
              <a:defRPr sz="2800">
                <a:latin typeface="Arial" panose="020B0604020202020204" pitchFamily="34" charset="0"/>
              </a:defRPr>
            </a:lvl2pPr>
            <a:lvl3pPr marL="1143000" indent="-228600">
              <a:spcBef>
                <a:spcPct val="20000"/>
              </a:spcBef>
              <a:buChar char="•"/>
              <a:defRPr sz="2400">
                <a:latin typeface="Arial" panose="020B0604020202020204" pitchFamily="34" charset="0"/>
              </a:defRPr>
            </a:lvl3pPr>
            <a:lvl4pPr marL="1600200" indent="-228600">
              <a:spcBef>
                <a:spcPct val="20000"/>
              </a:spcBef>
              <a:buChar char="–"/>
              <a:defRPr sz="2000">
                <a:latin typeface="Arial" panose="020B0604020202020204" pitchFamily="34" charset="0"/>
              </a:defRPr>
            </a:lvl4pPr>
            <a:lvl5pPr marL="2057400" indent="-228600">
              <a:spcBef>
                <a:spcPct val="20000"/>
              </a:spcBef>
              <a:buChar char="»"/>
              <a:defRPr sz="2000">
                <a:latin typeface="Arial" panose="020B0604020202020204" pitchFamily="34" charset="0"/>
              </a:defRPr>
            </a:lvl5pPr>
            <a:lvl6pPr marL="2514600" indent="-228600" eaLnBrk="0" fontAlgn="base" hangingPunct="0">
              <a:spcBef>
                <a:spcPct val="20000"/>
              </a:spcBef>
              <a:spcAft>
                <a:spcPct val="0"/>
              </a:spcAft>
              <a:buChar char="»"/>
              <a:defRPr sz="2000">
                <a:latin typeface="Arial" panose="020B0604020202020204" pitchFamily="34" charset="0"/>
              </a:defRPr>
            </a:lvl6pPr>
            <a:lvl7pPr marL="2971800" indent="-228600" eaLnBrk="0" fontAlgn="base" hangingPunct="0">
              <a:spcBef>
                <a:spcPct val="20000"/>
              </a:spcBef>
              <a:spcAft>
                <a:spcPct val="0"/>
              </a:spcAft>
              <a:buChar char="»"/>
              <a:defRPr sz="2000">
                <a:latin typeface="Arial" panose="020B0604020202020204" pitchFamily="34" charset="0"/>
              </a:defRPr>
            </a:lvl7pPr>
            <a:lvl8pPr marL="3429000" indent="-228600" eaLnBrk="0" fontAlgn="base" hangingPunct="0">
              <a:spcBef>
                <a:spcPct val="20000"/>
              </a:spcBef>
              <a:spcAft>
                <a:spcPct val="0"/>
              </a:spcAft>
              <a:buChar char="»"/>
              <a:defRPr sz="2000">
                <a:latin typeface="Arial" panose="020B0604020202020204" pitchFamily="34" charset="0"/>
              </a:defRPr>
            </a:lvl8pPr>
            <a:lvl9pPr marL="3886200" indent="-228600" eaLnBrk="0" fontAlgn="base" hangingPunct="0">
              <a:spcBef>
                <a:spcPct val="20000"/>
              </a:spcBef>
              <a:spcAft>
                <a:spcPct val="0"/>
              </a:spcAft>
              <a:buChar char="»"/>
              <a:defRPr sz="2000">
                <a:latin typeface="Arial" panose="020B0604020202020204" pitchFamily="34" charset="0"/>
              </a:defRPr>
            </a:lvl9pPr>
          </a:lstStyle>
          <a:p>
            <a:r>
              <a:rPr lang="sl-SI" altLang="sl-SI" dirty="0"/>
              <a:t>Cilj taksonomije je preprečiti "zeleno pranje" (</a:t>
            </a:r>
            <a:r>
              <a:rPr lang="sl-SI" altLang="sl-SI" dirty="0" err="1"/>
              <a:t>greenwashing</a:t>
            </a:r>
            <a:r>
              <a:rPr lang="sl-SI" altLang="sl-SI" dirty="0"/>
              <a:t>) in pomagati vlagateljem pri bolj zelenih odločitvah.</a:t>
            </a:r>
          </a:p>
        </p:txBody>
      </p:sp>
      <p:sp>
        <p:nvSpPr>
          <p:cNvPr id="2" name="Title 1">
            <a:extLst>
              <a:ext uri="{FF2B5EF4-FFF2-40B4-BE49-F238E27FC236}">
                <a16:creationId xmlns:a16="http://schemas.microsoft.com/office/drawing/2014/main" id="{17339411-CEBF-FCA9-88A8-147C37855E24}"/>
              </a:ext>
            </a:extLst>
          </p:cNvPr>
          <p:cNvSpPr txBox="1">
            <a:spLocks/>
          </p:cNvSpPr>
          <p:nvPr/>
        </p:nvSpPr>
        <p:spPr>
          <a:xfrm>
            <a:off x="530400" y="121648"/>
            <a:ext cx="11131200" cy="620728"/>
          </a:xfrm>
          <a:prstGeom prst="rect">
            <a:avLst/>
          </a:prstGeom>
        </p:spPr>
        <p:txBody>
          <a:bodyPr vert="horz" lIns="91440" tIns="45720" rIns="91440" bIns="45720" rtlCol="0" anchor="t" anchorCtr="0">
            <a:normAutofit/>
          </a:bodyPr>
          <a:lstStyle>
            <a:lvl1pPr algn="l" defTabSz="914400" rtl="0" eaLnBrk="1" latinLnBrk="0" hangingPunct="1">
              <a:lnSpc>
                <a:spcPts val="4800"/>
              </a:lnSpc>
              <a:spcBef>
                <a:spcPct val="0"/>
              </a:spcBef>
              <a:buNone/>
              <a:defRPr sz="4400" kern="1200">
                <a:solidFill>
                  <a:schemeClr val="tx1"/>
                </a:solidFill>
                <a:latin typeface="+mj-lt"/>
                <a:ea typeface="+mj-ea"/>
                <a:cs typeface="+mj-cs"/>
              </a:defRPr>
            </a:lvl1pPr>
          </a:lstStyle>
          <a:p>
            <a:pPr>
              <a:lnSpc>
                <a:spcPct val="100000"/>
              </a:lnSpc>
              <a:spcBef>
                <a:spcPct val="20000"/>
              </a:spcBef>
              <a:defRPr/>
            </a:pPr>
            <a:r>
              <a:rPr lang="sl-SI" sz="2800">
                <a:solidFill>
                  <a:schemeClr val="accent1"/>
                </a:solidFill>
              </a:rPr>
              <a:t>4. ZELENO (trajnostno) FINANCIRANJE</a:t>
            </a:r>
            <a:endParaRPr lang="en-US" sz="2800" dirty="0">
              <a:solidFill>
                <a:schemeClr val="accent1"/>
              </a:solidFill>
            </a:endParaRPr>
          </a:p>
        </p:txBody>
      </p:sp>
      <p:sp>
        <p:nvSpPr>
          <p:cNvPr id="4" name="Title 4">
            <a:extLst>
              <a:ext uri="{FF2B5EF4-FFF2-40B4-BE49-F238E27FC236}">
                <a16:creationId xmlns:a16="http://schemas.microsoft.com/office/drawing/2014/main" id="{F911350B-F700-DC5D-05A7-11698B9479AB}"/>
              </a:ext>
            </a:extLst>
          </p:cNvPr>
          <p:cNvSpPr txBox="1">
            <a:spLocks/>
          </p:cNvSpPr>
          <p:nvPr/>
        </p:nvSpPr>
        <p:spPr>
          <a:xfrm>
            <a:off x="492906" y="701785"/>
            <a:ext cx="11131200" cy="714650"/>
          </a:xfrm>
          <a:prstGeom prst="rect">
            <a:avLst/>
          </a:prstGeom>
        </p:spPr>
        <p:txBody>
          <a:bodyPr vert="horz" lIns="91440" tIns="45720" rIns="91440" bIns="45720" rtlCol="0" anchor="t" anchorCtr="0">
            <a:normAutofit/>
          </a:bodyPr>
          <a:lstStyle>
            <a:lvl1pPr algn="l" defTabSz="914400" rtl="0" eaLnBrk="1" latinLnBrk="0" hangingPunct="1">
              <a:lnSpc>
                <a:spcPts val="4800"/>
              </a:lnSpc>
              <a:spcBef>
                <a:spcPct val="0"/>
              </a:spcBef>
              <a:buNone/>
              <a:defRPr sz="4400" kern="1200">
                <a:solidFill>
                  <a:schemeClr val="tx1"/>
                </a:solidFill>
                <a:latin typeface="+mj-lt"/>
                <a:ea typeface="+mj-ea"/>
                <a:cs typeface="+mj-cs"/>
              </a:defRPr>
            </a:lvl1pPr>
          </a:lstStyle>
          <a:p>
            <a:pPr>
              <a:spcBef>
                <a:spcPts val="40"/>
              </a:spcBef>
            </a:pPr>
            <a:r>
              <a:rPr lang="sl-SI" sz="2400" dirty="0">
                <a:solidFill>
                  <a:schemeClr val="accent1"/>
                </a:solidFill>
                <a:latin typeface="+mn-lt"/>
                <a:ea typeface="+mn-ea"/>
                <a:cs typeface="+mn-cs"/>
              </a:rPr>
              <a:t>4.1. EU Taksonomija – sistem določitve trajnostnih naložb/dejavnosti</a:t>
            </a:r>
            <a:endParaRPr lang="en-US" sz="2400" dirty="0">
              <a:solidFill>
                <a:schemeClr val="accent1"/>
              </a:solidFill>
              <a:latin typeface="+mn-lt"/>
              <a:ea typeface="+mn-ea"/>
              <a:cs typeface="+mn-cs"/>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AE52530-1909-41B7-B5E3-05D64DFD907D}"/>
              </a:ext>
            </a:extLst>
          </p:cNvPr>
          <p:cNvSpPr>
            <a:spLocks noGrp="1"/>
          </p:cNvSpPr>
          <p:nvPr>
            <p:ph type="title"/>
          </p:nvPr>
        </p:nvSpPr>
        <p:spPr>
          <a:xfrm>
            <a:off x="492906" y="559781"/>
            <a:ext cx="11131200" cy="714650"/>
          </a:xfrm>
        </p:spPr>
        <p:txBody>
          <a:bodyPr anchor="t">
            <a:normAutofit/>
          </a:bodyPr>
          <a:lstStyle/>
          <a:p>
            <a:pPr>
              <a:spcBef>
                <a:spcPts val="40"/>
              </a:spcBef>
            </a:pPr>
            <a:r>
              <a:rPr lang="sl-SI" sz="2400" dirty="0">
                <a:solidFill>
                  <a:schemeClr val="accent1"/>
                </a:solidFill>
                <a:latin typeface="+mn-lt"/>
                <a:ea typeface="+mn-ea"/>
                <a:cs typeface="+mn-cs"/>
              </a:rPr>
              <a:t>4.2. Zeleni nameni posojil in vrste investicij</a:t>
            </a:r>
            <a:endParaRPr lang="en-US" sz="2400" dirty="0">
              <a:solidFill>
                <a:schemeClr val="accent1"/>
              </a:solidFill>
              <a:latin typeface="+mn-lt"/>
              <a:ea typeface="+mn-ea"/>
              <a:cs typeface="+mn-cs"/>
            </a:endParaRPr>
          </a:p>
        </p:txBody>
      </p:sp>
      <p:sp>
        <p:nvSpPr>
          <p:cNvPr id="4" name="Slide Number Placeholder 3">
            <a:extLst>
              <a:ext uri="{FF2B5EF4-FFF2-40B4-BE49-F238E27FC236}">
                <a16:creationId xmlns:a16="http://schemas.microsoft.com/office/drawing/2014/main" id="{DC65D1B3-FFE3-4F4E-ACDC-5C67AA0DB6CA}"/>
              </a:ext>
            </a:extLst>
          </p:cNvPr>
          <p:cNvSpPr>
            <a:spLocks noGrp="1"/>
          </p:cNvSpPr>
          <p:nvPr>
            <p:ph type="sldNum" sz="quarter" idx="4"/>
          </p:nvPr>
        </p:nvSpPr>
        <p:spPr>
          <a:xfrm>
            <a:off x="9936427" y="6648067"/>
            <a:ext cx="1632181" cy="182562"/>
          </a:xfrm>
        </p:spPr>
        <p:txBody>
          <a:bodyPr anchor="ctr">
            <a:normAutofit/>
          </a:bodyPr>
          <a:lstStyle/>
          <a:p>
            <a:pPr>
              <a:spcAft>
                <a:spcPts val="600"/>
              </a:spcAft>
              <a:defRPr/>
            </a:pPr>
            <a:fld id="{C7E30386-8DAC-4717-AC36-AAFF3D4F8F1C}" type="slidenum">
              <a:rPr lang="sl-SI" altLang="sl-SI" smtClean="0"/>
              <a:pPr>
                <a:spcAft>
                  <a:spcPts val="600"/>
                </a:spcAft>
                <a:defRPr/>
              </a:pPr>
              <a:t>8</a:t>
            </a:fld>
            <a:endParaRPr lang="sl-SI" altLang="sl-SI"/>
          </a:p>
        </p:txBody>
      </p:sp>
      <p:sp>
        <p:nvSpPr>
          <p:cNvPr id="3" name="TextBox 2">
            <a:extLst>
              <a:ext uri="{FF2B5EF4-FFF2-40B4-BE49-F238E27FC236}">
                <a16:creationId xmlns:a16="http://schemas.microsoft.com/office/drawing/2014/main" id="{71D0B696-63F4-3ADE-3682-75F357717C0E}"/>
              </a:ext>
            </a:extLst>
          </p:cNvPr>
          <p:cNvSpPr txBox="1"/>
          <p:nvPr/>
        </p:nvSpPr>
        <p:spPr>
          <a:xfrm>
            <a:off x="596272" y="175334"/>
            <a:ext cx="10972336" cy="523220"/>
          </a:xfrm>
          <a:prstGeom prst="rect">
            <a:avLst/>
          </a:prstGeom>
          <a:noFill/>
        </p:spPr>
        <p:txBody>
          <a:bodyPr wrap="square">
            <a:spAutoFit/>
          </a:bodyPr>
          <a:lstStyle/>
          <a:p>
            <a:r>
              <a:rPr lang="sl-SI" sz="2800" dirty="0">
                <a:solidFill>
                  <a:schemeClr val="accent1"/>
                </a:solidFill>
              </a:rPr>
              <a:t>4. Zeleno (trajnostno) financiranje</a:t>
            </a:r>
            <a:endParaRPr lang="en-GB" sz="2800" dirty="0"/>
          </a:p>
        </p:txBody>
      </p:sp>
      <p:graphicFrame>
        <p:nvGraphicFramePr>
          <p:cNvPr id="11" name="Diagram 10">
            <a:extLst>
              <a:ext uri="{FF2B5EF4-FFF2-40B4-BE49-F238E27FC236}">
                <a16:creationId xmlns:a16="http://schemas.microsoft.com/office/drawing/2014/main" id="{0A922C18-F029-5E90-2868-E9438EB5E7FD}"/>
              </a:ext>
            </a:extLst>
          </p:cNvPr>
          <p:cNvGraphicFramePr/>
          <p:nvPr>
            <p:extLst>
              <p:ext uri="{D42A27DB-BD31-4B8C-83A1-F6EECF244321}">
                <p14:modId xmlns:p14="http://schemas.microsoft.com/office/powerpoint/2010/main" val="4038586907"/>
              </p:ext>
            </p:extLst>
          </p:nvPr>
        </p:nvGraphicFramePr>
        <p:xfrm>
          <a:off x="787561" y="1937630"/>
          <a:ext cx="12192000" cy="453650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2" name="Arrow: Right 11">
            <a:extLst>
              <a:ext uri="{FF2B5EF4-FFF2-40B4-BE49-F238E27FC236}">
                <a16:creationId xmlns:a16="http://schemas.microsoft.com/office/drawing/2014/main" id="{E01285B6-0456-7FEA-27F8-2B46021AD335}"/>
              </a:ext>
            </a:extLst>
          </p:cNvPr>
          <p:cNvSpPr/>
          <p:nvPr/>
        </p:nvSpPr>
        <p:spPr>
          <a:xfrm>
            <a:off x="455876" y="4173848"/>
            <a:ext cx="1083922" cy="554707"/>
          </a:xfrm>
          <a:prstGeom prst="rightArrow">
            <a:avLst>
              <a:gd name="adj1" fmla="val 76312"/>
              <a:gd name="adj2" fmla="val 4546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dirty="0" err="1"/>
              <a:t>Vrste</a:t>
            </a:r>
            <a:r>
              <a:rPr lang="en-AU" sz="1050" dirty="0"/>
              <a:t> </a:t>
            </a:r>
            <a:r>
              <a:rPr lang="sl-SI" sz="1050" dirty="0"/>
              <a:t>Investicij</a:t>
            </a:r>
            <a:endParaRPr lang="en-AU" sz="800" dirty="0"/>
          </a:p>
        </p:txBody>
      </p:sp>
      <p:sp>
        <p:nvSpPr>
          <p:cNvPr id="13" name="Arrow: Right 12">
            <a:extLst>
              <a:ext uri="{FF2B5EF4-FFF2-40B4-BE49-F238E27FC236}">
                <a16:creationId xmlns:a16="http://schemas.microsoft.com/office/drawing/2014/main" id="{F03F727F-26D3-52A4-6AE1-FB72BE7A0ED4}"/>
              </a:ext>
            </a:extLst>
          </p:cNvPr>
          <p:cNvSpPr/>
          <p:nvPr/>
        </p:nvSpPr>
        <p:spPr>
          <a:xfrm>
            <a:off x="455876" y="1908247"/>
            <a:ext cx="1060196" cy="554707"/>
          </a:xfrm>
          <a:prstGeom prst="rightArrow">
            <a:avLst>
              <a:gd name="adj1" fmla="val 76312"/>
              <a:gd name="adj2" fmla="val 4546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dirty="0" err="1"/>
              <a:t>Nameni</a:t>
            </a:r>
            <a:r>
              <a:rPr lang="en-AU" sz="900" dirty="0"/>
              <a:t> </a:t>
            </a:r>
            <a:r>
              <a:rPr lang="en-AU" sz="900" dirty="0" err="1"/>
              <a:t>posojila</a:t>
            </a:r>
            <a:endParaRPr lang="en-AU" sz="900" dirty="0"/>
          </a:p>
        </p:txBody>
      </p:sp>
      <p:sp>
        <p:nvSpPr>
          <p:cNvPr id="14" name="Left Brace 13">
            <a:extLst>
              <a:ext uri="{FF2B5EF4-FFF2-40B4-BE49-F238E27FC236}">
                <a16:creationId xmlns:a16="http://schemas.microsoft.com/office/drawing/2014/main" id="{62A7A719-28F9-3B22-5FB3-70877A4BC207}"/>
              </a:ext>
            </a:extLst>
          </p:cNvPr>
          <p:cNvSpPr/>
          <p:nvPr/>
        </p:nvSpPr>
        <p:spPr>
          <a:xfrm>
            <a:off x="1871483" y="2428270"/>
            <a:ext cx="231007" cy="4045864"/>
          </a:xfrm>
          <a:prstGeom prst="leftBrace">
            <a:avLst>
              <a:gd name="adj1" fmla="val 58333"/>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Rectangle 14">
            <a:extLst>
              <a:ext uri="{FF2B5EF4-FFF2-40B4-BE49-F238E27FC236}">
                <a16:creationId xmlns:a16="http://schemas.microsoft.com/office/drawing/2014/main" id="{2DF1AFC5-98EF-3B44-0EB9-FE1800879C2C}"/>
              </a:ext>
            </a:extLst>
          </p:cNvPr>
          <p:cNvSpPr/>
          <p:nvPr/>
        </p:nvSpPr>
        <p:spPr>
          <a:xfrm>
            <a:off x="492906" y="1234638"/>
            <a:ext cx="11511563" cy="545406"/>
          </a:xfrm>
          <a:prstGeom prst="rect">
            <a:avLst/>
          </a:prstGeom>
        </p:spPr>
        <p:txBody>
          <a:bodyPr wrap="square" lIns="91440" tIns="45720" rIns="91440" bIns="45720" anchor="t">
            <a:spAutoFit/>
          </a:bodyPr>
          <a:lstStyle/>
          <a:p>
            <a:pPr marL="171450" marR="0" lvl="0" indent="-171450" algn="l" defTabSz="914400" rtl="0" eaLnBrk="1" fontAlgn="auto" latinLnBrk="0" hangingPunct="1">
              <a:lnSpc>
                <a:spcPct val="92000"/>
              </a:lnSpc>
              <a:spcBef>
                <a:spcPts val="0"/>
              </a:spcBef>
              <a:spcAft>
                <a:spcPts val="0"/>
              </a:spcAft>
              <a:buClrTx/>
              <a:buSzTx/>
              <a:buFont typeface="Wingdings" panose="05000000000000000000" pitchFamily="2" charset="2"/>
              <a:buChar char="§"/>
              <a:tabLst/>
              <a:defRPr/>
            </a:pPr>
            <a:r>
              <a:rPr kumimoji="0" lang="en-AU" sz="16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NLB </a:t>
            </a:r>
            <a:r>
              <a:rPr kumimoji="0" lang="sl-SI" sz="16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Skupina </a:t>
            </a:r>
            <a:r>
              <a:rPr lang="sl-SI" sz="1600" b="1" dirty="0">
                <a:latin typeface="Arial" panose="020B0604020202020204" pitchFamily="34" charset="0"/>
                <a:cs typeface="Arial" panose="020B0604020202020204" pitchFamily="34" charset="0"/>
              </a:rPr>
              <a:t>ima s svojem Okvirju zelenih obveznic opredeljenih 6 različnih namenov zelenih posojil in 30 različnih vrst investicij (EU Taksonomija)</a:t>
            </a:r>
            <a:endParaRPr kumimoji="0" lang="en-AU" sz="1600" b="1" i="0"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p:txBody>
      </p:sp>
      <p:sp>
        <p:nvSpPr>
          <p:cNvPr id="17" name="TextBox 16">
            <a:extLst>
              <a:ext uri="{FF2B5EF4-FFF2-40B4-BE49-F238E27FC236}">
                <a16:creationId xmlns:a16="http://schemas.microsoft.com/office/drawing/2014/main" id="{ACD54220-81F3-01D0-20BF-652A760A1E0B}"/>
              </a:ext>
            </a:extLst>
          </p:cNvPr>
          <p:cNvSpPr txBox="1"/>
          <p:nvPr/>
        </p:nvSpPr>
        <p:spPr>
          <a:xfrm>
            <a:off x="5702878" y="6007103"/>
            <a:ext cx="6489122" cy="369332"/>
          </a:xfrm>
          <a:prstGeom prst="rect">
            <a:avLst/>
          </a:prstGeom>
          <a:noFill/>
        </p:spPr>
        <p:txBody>
          <a:bodyPr wrap="square">
            <a:spAutoFit/>
          </a:bodyPr>
          <a:lstStyle/>
          <a:p>
            <a:r>
              <a:rPr lang="sl-SI" dirty="0">
                <a:hlinkClick r:id="rId7"/>
              </a:rPr>
              <a:t>nlb-green-bond-framework.pdf</a:t>
            </a:r>
            <a:endParaRPr lang="en-GB" dirty="0"/>
          </a:p>
        </p:txBody>
      </p:sp>
    </p:spTree>
    <p:extLst>
      <p:ext uri="{BB962C8B-B14F-4D97-AF65-F5344CB8AC3E}">
        <p14:creationId xmlns:p14="http://schemas.microsoft.com/office/powerpoint/2010/main" val="41520908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AE52530-1909-41B7-B5E3-05D64DFD907D}"/>
              </a:ext>
            </a:extLst>
          </p:cNvPr>
          <p:cNvSpPr>
            <a:spLocks noGrp="1"/>
          </p:cNvSpPr>
          <p:nvPr>
            <p:ph type="title"/>
          </p:nvPr>
        </p:nvSpPr>
        <p:spPr>
          <a:xfrm>
            <a:off x="516840" y="506191"/>
            <a:ext cx="11131200" cy="638983"/>
          </a:xfrm>
        </p:spPr>
        <p:txBody>
          <a:bodyPr anchor="t">
            <a:normAutofit/>
          </a:bodyPr>
          <a:lstStyle/>
          <a:p>
            <a:pPr>
              <a:spcBef>
                <a:spcPts val="40"/>
              </a:spcBef>
            </a:pPr>
            <a:r>
              <a:rPr lang="sl-SI" sz="2400" dirty="0">
                <a:solidFill>
                  <a:schemeClr val="accent1"/>
                </a:solidFill>
                <a:latin typeface="+mn-lt"/>
                <a:ea typeface="+mn-ea"/>
                <a:cs typeface="+mn-cs"/>
              </a:rPr>
              <a:t>4.3. Zeleno financiranje v praksi</a:t>
            </a:r>
            <a:endParaRPr lang="en-US" sz="2400" dirty="0">
              <a:solidFill>
                <a:schemeClr val="accent1"/>
              </a:solidFill>
              <a:latin typeface="+mn-lt"/>
              <a:ea typeface="+mn-ea"/>
              <a:cs typeface="+mn-cs"/>
            </a:endParaRPr>
          </a:p>
        </p:txBody>
      </p:sp>
      <p:sp>
        <p:nvSpPr>
          <p:cNvPr id="6" name="Content Placeholder 5">
            <a:extLst>
              <a:ext uri="{FF2B5EF4-FFF2-40B4-BE49-F238E27FC236}">
                <a16:creationId xmlns:a16="http://schemas.microsoft.com/office/drawing/2014/main" id="{7DD0E0DA-D9A8-494E-B864-611740BF147F}"/>
              </a:ext>
            </a:extLst>
          </p:cNvPr>
          <p:cNvSpPr>
            <a:spLocks noGrp="1"/>
          </p:cNvSpPr>
          <p:nvPr>
            <p:ph sz="half" idx="1"/>
          </p:nvPr>
        </p:nvSpPr>
        <p:spPr>
          <a:xfrm>
            <a:off x="4943872" y="1980000"/>
            <a:ext cx="6579789" cy="3780000"/>
          </a:xfrm>
        </p:spPr>
        <p:txBody>
          <a:bodyPr wrap="square">
            <a:normAutofit/>
          </a:bodyPr>
          <a:lstStyle/>
          <a:p>
            <a:pPr>
              <a:lnSpc>
                <a:spcPct val="90000"/>
              </a:lnSpc>
            </a:pPr>
            <a:r>
              <a:rPr lang="sl-SI" b="1" dirty="0">
                <a:solidFill>
                  <a:schemeClr val="accent1"/>
                </a:solidFill>
              </a:rPr>
              <a:t>Podatki o transakciji </a:t>
            </a:r>
            <a:r>
              <a:rPr lang="sl-SI" dirty="0"/>
              <a:t>– da lahko opredelimo ali je transakcija zelena potrebujemo podatek o namenu financiranja. Na podlagi financirane aktivnosti je lahko transakcija upravičena do zelenega financiranja.</a:t>
            </a:r>
          </a:p>
          <a:p>
            <a:pPr>
              <a:lnSpc>
                <a:spcPct val="90000"/>
              </a:lnSpc>
            </a:pPr>
            <a:r>
              <a:rPr lang="sl-SI" b="1" dirty="0">
                <a:solidFill>
                  <a:schemeClr val="accent1"/>
                </a:solidFill>
              </a:rPr>
              <a:t>Podatku o učinku transakcije </a:t>
            </a:r>
            <a:r>
              <a:rPr lang="sl-SI" dirty="0"/>
              <a:t>– na podlagi upravičenosti aktivnosti preverjanje izpolnjevanje kriterijev za znaten prispevek k </a:t>
            </a:r>
            <a:r>
              <a:rPr lang="sl-SI" dirty="0" err="1"/>
              <a:t>okoljskemu</a:t>
            </a:r>
            <a:r>
              <a:rPr lang="sl-SI" dirty="0"/>
              <a:t> cilju (cilji opredeljeni v </a:t>
            </a:r>
            <a:r>
              <a:rPr lang="sl-SI" dirty="0" err="1"/>
              <a:t>Green</a:t>
            </a:r>
            <a:r>
              <a:rPr lang="sl-SI" dirty="0"/>
              <a:t> </a:t>
            </a:r>
            <a:r>
              <a:rPr lang="sl-SI" dirty="0" err="1"/>
              <a:t>bond</a:t>
            </a:r>
            <a:r>
              <a:rPr lang="sl-SI" dirty="0"/>
              <a:t> </a:t>
            </a:r>
            <a:r>
              <a:rPr lang="sl-SI" dirty="0" err="1"/>
              <a:t>frameworku</a:t>
            </a:r>
            <a:r>
              <a:rPr lang="sl-SI" dirty="0"/>
              <a:t>, EU Taksonomiji, v NLB veljavni tudi EBRD, MIGA kriteriji, ki temeljijo na EU </a:t>
            </a:r>
            <a:r>
              <a:rPr lang="sl-SI" dirty="0" err="1"/>
              <a:t>Takosnomiji</a:t>
            </a:r>
            <a:r>
              <a:rPr lang="sl-SI" dirty="0"/>
              <a:t>). Na podlagi izpolnjevanja kriterijev (opredelitev do kriterijev in dokazil) za prispevek k določenem </a:t>
            </a:r>
            <a:r>
              <a:rPr lang="sl-SI" dirty="0" err="1"/>
              <a:t>okoljskemu</a:t>
            </a:r>
            <a:r>
              <a:rPr lang="sl-SI" dirty="0"/>
              <a:t> cilju je transakcija opredeljena kot zeleno financiranje</a:t>
            </a:r>
          </a:p>
          <a:p>
            <a:pPr>
              <a:lnSpc>
                <a:spcPct val="90000"/>
              </a:lnSpc>
            </a:pPr>
            <a:r>
              <a:rPr lang="sl-SI" dirty="0"/>
              <a:t>Zeleno financiranje ima (trenutno v NLB) </a:t>
            </a:r>
            <a:r>
              <a:rPr lang="sl-SI" b="1" dirty="0">
                <a:solidFill>
                  <a:schemeClr val="accent1"/>
                </a:solidFill>
              </a:rPr>
              <a:t>ugodnejše pogoje financiranja</a:t>
            </a:r>
            <a:r>
              <a:rPr lang="sl-SI" dirty="0"/>
              <a:t>, ki se bodo z leti še razvijali.</a:t>
            </a:r>
          </a:p>
          <a:p>
            <a:pPr>
              <a:lnSpc>
                <a:spcPct val="90000"/>
              </a:lnSpc>
            </a:pPr>
            <a:endParaRPr lang="sl-SI" dirty="0"/>
          </a:p>
          <a:p>
            <a:pPr>
              <a:lnSpc>
                <a:spcPct val="90000"/>
              </a:lnSpc>
            </a:pPr>
            <a:endParaRPr lang="en-US" dirty="0"/>
          </a:p>
        </p:txBody>
      </p:sp>
      <p:sp>
        <p:nvSpPr>
          <p:cNvPr id="4" name="Slide Number Placeholder 3">
            <a:extLst>
              <a:ext uri="{FF2B5EF4-FFF2-40B4-BE49-F238E27FC236}">
                <a16:creationId xmlns:a16="http://schemas.microsoft.com/office/drawing/2014/main" id="{DC65D1B3-FFE3-4F4E-ACDC-5C67AA0DB6CA}"/>
              </a:ext>
            </a:extLst>
          </p:cNvPr>
          <p:cNvSpPr>
            <a:spLocks noGrp="1"/>
          </p:cNvSpPr>
          <p:nvPr>
            <p:ph type="sldNum" sz="quarter" idx="4"/>
          </p:nvPr>
        </p:nvSpPr>
        <p:spPr>
          <a:xfrm>
            <a:off x="9936427" y="6648067"/>
            <a:ext cx="1632181" cy="182562"/>
          </a:xfrm>
        </p:spPr>
        <p:txBody>
          <a:bodyPr anchor="ctr">
            <a:normAutofit/>
          </a:bodyPr>
          <a:lstStyle/>
          <a:p>
            <a:pPr>
              <a:spcAft>
                <a:spcPts val="600"/>
              </a:spcAft>
              <a:defRPr/>
            </a:pPr>
            <a:fld id="{C7E30386-8DAC-4717-AC36-AAFF3D4F8F1C}" type="slidenum">
              <a:rPr lang="sl-SI" altLang="sl-SI" smtClean="0"/>
              <a:pPr>
                <a:spcAft>
                  <a:spcPts val="600"/>
                </a:spcAft>
                <a:defRPr/>
              </a:pPr>
              <a:t>9</a:t>
            </a:fld>
            <a:endParaRPr lang="sl-SI" altLang="sl-SI"/>
          </a:p>
        </p:txBody>
      </p:sp>
      <p:pic>
        <p:nvPicPr>
          <p:cNvPr id="5124" name="Picture 4" descr="Sustainable Finance and Upcoming Reporting Requirements in 2022 | Sphera">
            <a:extLst>
              <a:ext uri="{FF2B5EF4-FFF2-40B4-BE49-F238E27FC236}">
                <a16:creationId xmlns:a16="http://schemas.microsoft.com/office/drawing/2014/main" id="{E1388E86-A3FD-4790-9DC0-45151BA45A12}"/>
              </a:ext>
            </a:extLst>
          </p:cNvPr>
          <p:cNvPicPr>
            <a:picLocks noGrp="1" noChangeAspect="1" noChangeArrowheads="1"/>
          </p:cNvPicPr>
          <p:nvPr>
            <p:ph sz="half" idx="2"/>
          </p:nvPr>
        </p:nvPicPr>
        <p:blipFill>
          <a:blip r:embed="rId2" cstate="print">
            <a:extLst>
              <a:ext uri="{28A0092B-C50C-407E-A947-70E740481C1C}">
                <a14:useLocalDpi xmlns:a14="http://schemas.microsoft.com/office/drawing/2010/main" val="0"/>
              </a:ext>
            </a:extLst>
          </a:blip>
          <a:srcRect/>
          <a:stretch>
            <a:fillRect/>
          </a:stretch>
        </p:blipFill>
        <p:spPr bwMode="auto">
          <a:xfrm>
            <a:off x="650875" y="2787452"/>
            <a:ext cx="3905250" cy="2164159"/>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71D0B696-63F4-3ADE-3682-75F357717C0E}"/>
              </a:ext>
            </a:extLst>
          </p:cNvPr>
          <p:cNvSpPr txBox="1"/>
          <p:nvPr/>
        </p:nvSpPr>
        <p:spPr>
          <a:xfrm>
            <a:off x="596272" y="175334"/>
            <a:ext cx="10972336" cy="523220"/>
          </a:xfrm>
          <a:prstGeom prst="rect">
            <a:avLst/>
          </a:prstGeom>
          <a:noFill/>
        </p:spPr>
        <p:txBody>
          <a:bodyPr wrap="square">
            <a:spAutoFit/>
          </a:bodyPr>
          <a:lstStyle/>
          <a:p>
            <a:r>
              <a:rPr lang="sl-SI" sz="2800" dirty="0">
                <a:solidFill>
                  <a:schemeClr val="accent1"/>
                </a:solidFill>
              </a:rPr>
              <a:t>4. Zeleno (trajnostno) financiranje</a:t>
            </a:r>
            <a:endParaRPr lang="en-GB" sz="2800" dirty="0"/>
          </a:p>
        </p:txBody>
      </p:sp>
      <p:sp>
        <p:nvSpPr>
          <p:cNvPr id="2" name="Rectangle 1">
            <a:extLst>
              <a:ext uri="{FF2B5EF4-FFF2-40B4-BE49-F238E27FC236}">
                <a16:creationId xmlns:a16="http://schemas.microsoft.com/office/drawing/2014/main" id="{86FD2ECB-AD2B-654C-AACB-06D4B238C0BB}"/>
              </a:ext>
            </a:extLst>
          </p:cNvPr>
          <p:cNvSpPr/>
          <p:nvPr/>
        </p:nvSpPr>
        <p:spPr>
          <a:xfrm>
            <a:off x="492906" y="1234638"/>
            <a:ext cx="11511563" cy="601960"/>
          </a:xfrm>
          <a:prstGeom prst="rect">
            <a:avLst/>
          </a:prstGeom>
        </p:spPr>
        <p:txBody>
          <a:bodyPr wrap="square" lIns="91440" tIns="45720" rIns="91440" bIns="45720" anchor="t">
            <a:spAutoFit/>
          </a:bodyPr>
          <a:lstStyle/>
          <a:p>
            <a:pPr marL="171450" marR="0" lvl="0" indent="-171450" algn="l" defTabSz="914400" rtl="0" eaLnBrk="1" fontAlgn="auto" latinLnBrk="0" hangingPunct="1">
              <a:lnSpc>
                <a:spcPct val="92000"/>
              </a:lnSpc>
              <a:spcBef>
                <a:spcPts val="0"/>
              </a:spcBef>
              <a:spcAft>
                <a:spcPts val="0"/>
              </a:spcAft>
              <a:buClrTx/>
              <a:buSzTx/>
              <a:buFont typeface="Wingdings" panose="05000000000000000000" pitchFamily="2" charset="2"/>
              <a:buChar char="§"/>
              <a:tabLst/>
              <a:defRPr/>
            </a:pPr>
            <a:r>
              <a:rPr kumimoji="0" lang="sl-SI"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Pri zelenem financiranju so potrebne dodatne informacije o zelenem namenu in učinkih transakcije na okolje</a:t>
            </a:r>
            <a:endParaRPr kumimoji="0" lang="en-AU" b="1" i="0"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377313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NLB 2015-Business">
      <a:dk1>
        <a:srgbClr val="757575"/>
      </a:dk1>
      <a:lt1>
        <a:srgbClr val="FFFFFF"/>
      </a:lt1>
      <a:dk2>
        <a:srgbClr val="FFFFFF"/>
      </a:dk2>
      <a:lt2>
        <a:srgbClr val="CCD32A"/>
      </a:lt2>
      <a:accent1>
        <a:srgbClr val="28007D"/>
      </a:accent1>
      <a:accent2>
        <a:srgbClr val="CCD32A"/>
      </a:accent2>
      <a:accent3>
        <a:srgbClr val="757575"/>
      </a:accent3>
      <a:accent4>
        <a:srgbClr val="937FBE"/>
      </a:accent4>
      <a:accent5>
        <a:srgbClr val="EEE895"/>
      </a:accent5>
      <a:accent6>
        <a:srgbClr val="BABABA"/>
      </a:accent6>
      <a:hlink>
        <a:srgbClr val="28007D"/>
      </a:hlink>
      <a:folHlink>
        <a:srgbClr val="28007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blank" id="{3F38F1A3-C93A-44B0-A283-27915FA14264}" vid="{DC770F77-7ABE-4307-99E1-11C558C38D0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4104</TotalTime>
  <Words>2140</Words>
  <Application>Microsoft Office PowerPoint</Application>
  <PresentationFormat>Widescreen</PresentationFormat>
  <Paragraphs>282</Paragraphs>
  <Slides>15</Slides>
  <Notes>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2" baseType="lpstr">
      <vt:lpstr>Arial</vt:lpstr>
      <vt:lpstr>Calibri</vt:lpstr>
      <vt:lpstr>Times New Roman</vt:lpstr>
      <vt:lpstr>Trebuchet MS</vt:lpstr>
      <vt:lpstr>Wingdings</vt:lpstr>
      <vt:lpstr>Office Theme</vt:lpstr>
      <vt:lpstr>think-cell Slide</vt:lpstr>
      <vt:lpstr>Ravnanje z odpadki v luči bodočih zakonodajnih sprememb v Sloveniji in EU</vt:lpstr>
      <vt:lpstr>Vsebina</vt:lpstr>
      <vt:lpstr>Pot trajnostnega razvoja v NLB Skupini</vt:lpstr>
      <vt:lpstr>Pregled trajnostne strategije NLB Skupine</vt:lpstr>
      <vt:lpstr>3. Zaveza načelom OZN za odgovorno bančništvo</vt:lpstr>
      <vt:lpstr>4. ZELENO (trajnostno) FINANCIRANJE</vt:lpstr>
      <vt:lpstr>PowerPoint Presentation</vt:lpstr>
      <vt:lpstr>4.2. Zeleni nameni posojil in vrste investicij</vt:lpstr>
      <vt:lpstr>4.3. Zeleno financiranje v praksi</vt:lpstr>
      <vt:lpstr>4.3.1 Primeri zelenega financiranja – sončna elektrarna</vt:lpstr>
      <vt:lpstr>4.3.2 Primeri zelenega financiranja – nakup in menjava oken</vt:lpstr>
      <vt:lpstr>4.3.3 Primeri zelenega financiranja – energetska učinkovitost - zamenjava klimatskih naprav</vt:lpstr>
      <vt:lpstr>4.3.4 Primeri zelenega financiranja – Zbiranje in prevoz nevarnih odpadkov</vt:lpstr>
      <vt:lpstr>4.3.5 Primeri zelenega financiranja – Predelava snovi iz nevarnih odpadkov</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t trajnostnega razvoja v NLB Skupini</dc:title>
  <dc:creator>Kores Dolores</dc:creator>
  <cp:lastModifiedBy>Pustatičnik Iztok</cp:lastModifiedBy>
  <cp:revision>11</cp:revision>
  <dcterms:created xsi:type="dcterms:W3CDTF">2023-10-16T18:04:09Z</dcterms:created>
  <dcterms:modified xsi:type="dcterms:W3CDTF">2023-10-20T07:45: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adfd63b3-eb6a-41e9-96bb-7c0e40480fbe_Enabled">
    <vt:lpwstr>true</vt:lpwstr>
  </property>
  <property fmtid="{D5CDD505-2E9C-101B-9397-08002B2CF9AE}" pid="3" name="MSIP_Label_adfd63b3-eb6a-41e9-96bb-7c0e40480fbe_SetDate">
    <vt:lpwstr>2023-10-16T18:15:15Z</vt:lpwstr>
  </property>
  <property fmtid="{D5CDD505-2E9C-101B-9397-08002B2CF9AE}" pid="4" name="MSIP_Label_adfd63b3-eb6a-41e9-96bb-7c0e40480fbe_Method">
    <vt:lpwstr>Privileged</vt:lpwstr>
  </property>
  <property fmtid="{D5CDD505-2E9C-101B-9397-08002B2CF9AE}" pid="5" name="MSIP_Label_adfd63b3-eb6a-41e9-96bb-7c0e40480fbe_Name">
    <vt:lpwstr>Samo za interno uporabo</vt:lpwstr>
  </property>
  <property fmtid="{D5CDD505-2E9C-101B-9397-08002B2CF9AE}" pid="6" name="MSIP_Label_adfd63b3-eb6a-41e9-96bb-7c0e40480fbe_SiteId">
    <vt:lpwstr>368e92b5-dfa0-4bce-9594-4c2e6fd2d1eb</vt:lpwstr>
  </property>
  <property fmtid="{D5CDD505-2E9C-101B-9397-08002B2CF9AE}" pid="7" name="MSIP_Label_adfd63b3-eb6a-41e9-96bb-7c0e40480fbe_ActionId">
    <vt:lpwstr>b2001dee-e651-4881-8a59-27f9aea4e700</vt:lpwstr>
  </property>
  <property fmtid="{D5CDD505-2E9C-101B-9397-08002B2CF9AE}" pid="8" name="MSIP_Label_adfd63b3-eb6a-41e9-96bb-7c0e40480fbe_ContentBits">
    <vt:lpwstr>0</vt:lpwstr>
  </property>
</Properties>
</file>